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5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  <p:sldMasterId id="2147483702" r:id="rId6"/>
    <p:sldMasterId id="2147483726" r:id="rId7"/>
  </p:sldMasterIdLst>
  <p:notesMasterIdLst>
    <p:notesMasterId r:id="rId17"/>
  </p:notesMasterIdLst>
  <p:sldIdLst>
    <p:sldId id="257" r:id="rId8"/>
    <p:sldId id="2147483246" r:id="rId9"/>
    <p:sldId id="2147483239" r:id="rId10"/>
    <p:sldId id="2147483240" r:id="rId11"/>
    <p:sldId id="2147483245" r:id="rId12"/>
    <p:sldId id="2147483210" r:id="rId13"/>
    <p:sldId id="2147483241" r:id="rId14"/>
    <p:sldId id="2147483235" r:id="rId15"/>
    <p:sldId id="2147483238" r:id="rId1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E96DCF-9162-5D5A-40E8-05DB525962EA}" name="Helene Arnfred" initials="HA" userId="S::ext_hea@domea.dk::05a8b423-6e7f-4e71-b601-f56a99db3e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52F5F"/>
    <a:srgbClr val="FF3B3B"/>
    <a:srgbClr val="005950"/>
    <a:srgbClr val="B5CEBD"/>
    <a:srgbClr val="97A2BB"/>
    <a:srgbClr val="EF3F50"/>
    <a:srgbClr val="FCD9DC"/>
    <a:srgbClr val="B4CEBD"/>
    <a:srgbClr val="FFCCFF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108" y="1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sper Brøndum Andersen" userId="23d34907-f6e1-4907-afd7-52417792db56" providerId="ADAL" clId="{5F73AC45-D305-42C2-B90C-DB3547B7C75B}"/>
    <pc:docChg chg="delSld modSld">
      <pc:chgData name="Kasper Brøndum Andersen" userId="23d34907-f6e1-4907-afd7-52417792db56" providerId="ADAL" clId="{5F73AC45-D305-42C2-B90C-DB3547B7C75B}" dt="2026-01-15T13:31:30.625" v="12" actId="1037"/>
      <pc:docMkLst>
        <pc:docMk/>
      </pc:docMkLst>
      <pc:sldChg chg="modSp mod">
        <pc:chgData name="Kasper Brøndum Andersen" userId="23d34907-f6e1-4907-afd7-52417792db56" providerId="ADAL" clId="{5F73AC45-D305-42C2-B90C-DB3547B7C75B}" dt="2026-01-15T13:30:23.365" v="3" actId="20577"/>
        <pc:sldMkLst>
          <pc:docMk/>
          <pc:sldMk cId="934172016" sldId="2147483235"/>
        </pc:sldMkLst>
        <pc:spChg chg="mod">
          <ac:chgData name="Kasper Brøndum Andersen" userId="23d34907-f6e1-4907-afd7-52417792db56" providerId="ADAL" clId="{5F73AC45-D305-42C2-B90C-DB3547B7C75B}" dt="2026-01-15T13:30:23.365" v="3" actId="20577"/>
          <ac:spMkLst>
            <pc:docMk/>
            <pc:sldMk cId="934172016" sldId="2147483235"/>
            <ac:spMk id="50" creationId="{4EFA95B4-5EFE-A0E8-889C-319CA3C68CFF}"/>
          </ac:spMkLst>
        </pc:spChg>
      </pc:sldChg>
      <pc:sldChg chg="modSp mod">
        <pc:chgData name="Kasper Brøndum Andersen" userId="23d34907-f6e1-4907-afd7-52417792db56" providerId="ADAL" clId="{5F73AC45-D305-42C2-B90C-DB3547B7C75B}" dt="2026-01-15T13:30:27.515" v="4" actId="20577"/>
        <pc:sldMkLst>
          <pc:docMk/>
          <pc:sldMk cId="2076798601" sldId="2147483238"/>
        </pc:sldMkLst>
        <pc:spChg chg="mod">
          <ac:chgData name="Kasper Brøndum Andersen" userId="23d34907-f6e1-4907-afd7-52417792db56" providerId="ADAL" clId="{5F73AC45-D305-42C2-B90C-DB3547B7C75B}" dt="2026-01-15T13:30:27.515" v="4" actId="20577"/>
          <ac:spMkLst>
            <pc:docMk/>
            <pc:sldMk cId="2076798601" sldId="2147483238"/>
            <ac:spMk id="50" creationId="{141449F1-CFC5-D946-33EE-52C97889F184}"/>
          </ac:spMkLst>
        </pc:spChg>
      </pc:sldChg>
      <pc:sldChg chg="modSp mod">
        <pc:chgData name="Kasper Brøndum Andersen" userId="23d34907-f6e1-4907-afd7-52417792db56" providerId="ADAL" clId="{5F73AC45-D305-42C2-B90C-DB3547B7C75B}" dt="2026-01-15T13:31:30.625" v="12" actId="1037"/>
        <pc:sldMkLst>
          <pc:docMk/>
          <pc:sldMk cId="1061955886" sldId="2147483239"/>
        </pc:sldMkLst>
        <pc:picChg chg="mod">
          <ac:chgData name="Kasper Brøndum Andersen" userId="23d34907-f6e1-4907-afd7-52417792db56" providerId="ADAL" clId="{5F73AC45-D305-42C2-B90C-DB3547B7C75B}" dt="2026-01-15T13:31:30.625" v="12" actId="1037"/>
          <ac:picMkLst>
            <pc:docMk/>
            <pc:sldMk cId="1061955886" sldId="2147483239"/>
            <ac:picMk id="4" creationId="{87A5119D-993E-2DE7-D114-FA60301C2CB0}"/>
          </ac:picMkLst>
        </pc:picChg>
      </pc:sldChg>
      <pc:sldChg chg="modSp mod">
        <pc:chgData name="Kasper Brøndum Andersen" userId="23d34907-f6e1-4907-afd7-52417792db56" providerId="ADAL" clId="{5F73AC45-D305-42C2-B90C-DB3547B7C75B}" dt="2026-01-15T13:30:19.623" v="2" actId="20577"/>
        <pc:sldMkLst>
          <pc:docMk/>
          <pc:sldMk cId="2138604122" sldId="2147483241"/>
        </pc:sldMkLst>
        <pc:spChg chg="mod">
          <ac:chgData name="Kasper Brøndum Andersen" userId="23d34907-f6e1-4907-afd7-52417792db56" providerId="ADAL" clId="{5F73AC45-D305-42C2-B90C-DB3547B7C75B}" dt="2026-01-15T13:30:19.623" v="2" actId="20577"/>
          <ac:spMkLst>
            <pc:docMk/>
            <pc:sldMk cId="2138604122" sldId="2147483241"/>
            <ac:spMk id="50" creationId="{C5514AE3-D34B-5FB2-A248-BA006F1E0E05}"/>
          </ac:spMkLst>
        </pc:spChg>
      </pc:sldChg>
      <pc:sldChg chg="del">
        <pc:chgData name="Kasper Brøndum Andersen" userId="23d34907-f6e1-4907-afd7-52417792db56" providerId="ADAL" clId="{5F73AC45-D305-42C2-B90C-DB3547B7C75B}" dt="2026-01-15T13:30:32.020" v="5" actId="2696"/>
        <pc:sldMkLst>
          <pc:docMk/>
          <pc:sldMk cId="4136874884" sldId="2147483242"/>
        </pc:sldMkLst>
      </pc:sldChg>
      <pc:sldChg chg="del">
        <pc:chgData name="Kasper Brøndum Andersen" userId="23d34907-f6e1-4907-afd7-52417792db56" providerId="ADAL" clId="{5F73AC45-D305-42C2-B90C-DB3547B7C75B}" dt="2026-01-15T13:30:35.250" v="6" actId="2696"/>
        <pc:sldMkLst>
          <pc:docMk/>
          <pc:sldMk cId="264471344" sldId="2147483243"/>
        </pc:sldMkLst>
      </pc:sldChg>
      <pc:sldChg chg="del">
        <pc:chgData name="Kasper Brøndum Andersen" userId="23d34907-f6e1-4907-afd7-52417792db56" providerId="ADAL" clId="{5F73AC45-D305-42C2-B90C-DB3547B7C75B}" dt="2026-01-15T13:30:37.825" v="7" actId="2696"/>
        <pc:sldMkLst>
          <pc:docMk/>
          <pc:sldMk cId="1972318647" sldId="214748324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088DFB-EE29-A041-990D-F86CC8A703C6}" type="datetimeFigureOut">
              <a:rPr lang="da-DK" smtClean="0"/>
              <a:t>15-01-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607A54-B1A5-E14A-ADC7-559667F4C9C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365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A2CA3-042F-AAA3-CB28-4E92EB87A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EDC509-9091-B4AB-1F0C-118CA2769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F5C596-11FF-3538-E47A-4EF8D8BB3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17623-2877-B1D1-E614-D99D246D14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8566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468313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917540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1557092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991300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564381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1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618001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13182239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14489913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4202862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76777981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39528927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4055784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18871662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313738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240643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1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105777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468849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0A690EE-50C7-6A16-2430-CCB8D9035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B6019-A745-B440-90C2-9B01E84D3E69}" type="datetimeFigureOut">
              <a:rPr lang="da-DK" smtClean="0"/>
              <a:t>15-01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89DC3D1-1031-FC8A-3DA3-772AB79C5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E51C065-E725-778C-89B7-EF24DEB48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20964-C3CE-D14B-A9F4-A4F766887BC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20183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10272451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32720289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25286819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62630075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1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167426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9721940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2419735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468313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4055784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1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167426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</p:spTree>
    <p:extLst>
      <p:ext uri="{BB962C8B-B14F-4D97-AF65-F5344CB8AC3E}">
        <p14:creationId xmlns:p14="http://schemas.microsoft.com/office/powerpoint/2010/main" val="24000922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0A690EE-50C7-6A16-2430-CCB8D9035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B6019-A745-B440-90C2-9B01E84D3E69}" type="datetimeFigureOut">
              <a:rPr lang="da-DK" smtClean="0"/>
              <a:t>15-01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89DC3D1-1031-FC8A-3DA3-772AB79C5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E51C065-E725-778C-89B7-EF24DEB48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20964-C3CE-D14B-A9F4-A4F766887BC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1623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13592054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922014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8960254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24000922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82732905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917540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27715336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176332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609183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1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3725677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32615486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31076710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35256104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291964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0A690EE-50C7-6A16-2430-CCB8D9035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B6019-A745-B440-90C2-9B01E84D3E69}" type="datetimeFigureOut">
              <a:rPr lang="da-DK" smtClean="0"/>
              <a:t>15-01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89DC3D1-1031-FC8A-3DA3-772AB79C5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E51C065-E725-778C-89B7-EF24DEB48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20964-C3CE-D14B-A9F4-A4F766887BC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1623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78342233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37524814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818970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1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98021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26805995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 Separator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5292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1120395-1D7C-D511-309E-7DC34E5CF502}"/>
              </a:ext>
            </a:extLst>
          </p:cNvPr>
          <p:cNvGrpSpPr/>
          <p:nvPr userDrawn="1"/>
        </p:nvGrpSpPr>
        <p:grpSpPr>
          <a:xfrm>
            <a:off x="-1" y="0"/>
            <a:ext cx="12192001" cy="6858002"/>
            <a:chOff x="-1" y="-1"/>
            <a:chExt cx="12192001" cy="6858002"/>
          </a:xfrm>
        </p:grpSpPr>
        <p:pic>
          <p:nvPicPr>
            <p:cNvPr id="1456" name="Graphic 1455">
              <a:extLst>
                <a:ext uri="{FF2B5EF4-FFF2-40B4-BE49-F238E27FC236}">
                  <a16:creationId xmlns:a16="http://schemas.microsoft.com/office/drawing/2014/main" id="{F92AE295-C922-4A5B-2D33-F2C93FC66A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35953" r="37869"/>
            <a:stretch>
              <a:fillRect/>
            </a:stretch>
          </p:blipFill>
          <p:spPr>
            <a:xfrm>
              <a:off x="7659055" y="-1"/>
              <a:ext cx="4532945" cy="4731657"/>
            </a:xfrm>
            <a:prstGeom prst="rect">
              <a:avLst/>
            </a:prstGeom>
          </p:spPr>
        </p:pic>
        <p:pic>
          <p:nvPicPr>
            <p:cNvPr id="1457" name="Graphic 1456">
              <a:extLst>
                <a:ext uri="{FF2B5EF4-FFF2-40B4-BE49-F238E27FC236}">
                  <a16:creationId xmlns:a16="http://schemas.microsoft.com/office/drawing/2014/main" id="{8EB33AB6-5702-72B2-4554-C9FD279506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6154" t="65184" r="16154" b="10151"/>
            <a:stretch>
              <a:fillRect/>
            </a:stretch>
          </p:blipFill>
          <p:spPr>
            <a:xfrm>
              <a:off x="1452018" y="1"/>
              <a:ext cx="2891382" cy="1066800"/>
            </a:xfrm>
            <a:prstGeom prst="rect">
              <a:avLst/>
            </a:prstGeom>
          </p:spPr>
        </p:pic>
        <p:pic>
          <p:nvPicPr>
            <p:cNvPr id="1458" name="Graphic 1457">
              <a:extLst>
                <a:ext uri="{FF2B5EF4-FFF2-40B4-BE49-F238E27FC236}">
                  <a16:creationId xmlns:a16="http://schemas.microsoft.com/office/drawing/2014/main" id="{A71BC8F4-47E6-3740-035D-669E4708CD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50000" b="50000"/>
            <a:stretch>
              <a:fillRect/>
            </a:stretch>
          </p:blipFill>
          <p:spPr>
            <a:xfrm>
              <a:off x="-1" y="4695371"/>
              <a:ext cx="2135709" cy="2162630"/>
            </a:xfrm>
            <a:prstGeom prst="rect">
              <a:avLst/>
            </a:prstGeom>
          </p:spPr>
        </p:pic>
        <p:pic>
          <p:nvPicPr>
            <p:cNvPr id="1459" name="Graphic 1458">
              <a:extLst>
                <a:ext uri="{FF2B5EF4-FFF2-40B4-BE49-F238E27FC236}">
                  <a16:creationId xmlns:a16="http://schemas.microsoft.com/office/drawing/2014/main" id="{0CC6A635-BBD2-D4A4-D801-598228E0F0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56512"/>
            <a:stretch>
              <a:fillRect/>
            </a:stretch>
          </p:blipFill>
          <p:spPr>
            <a:xfrm>
              <a:off x="5333999" y="4107544"/>
              <a:ext cx="6245873" cy="2750456"/>
            </a:xfrm>
            <a:prstGeom prst="rect">
              <a:avLst/>
            </a:prstGeom>
          </p:spPr>
        </p:pic>
        <p:sp>
          <p:nvSpPr>
            <p:cNvPr id="1460" name="Rectangle 1459">
              <a:extLst>
                <a:ext uri="{FF2B5EF4-FFF2-40B4-BE49-F238E27FC236}">
                  <a16:creationId xmlns:a16="http://schemas.microsoft.com/office/drawing/2014/main" id="{EE7FECFF-0306-FC92-206F-225856A8B03E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 sz="1400">
                <a:latin typeface="Verdana" panose="020B0604030504040204" pitchFamily="34" charset="0"/>
              </a:endParaRPr>
            </a:p>
          </p:txBody>
        </p:sp>
        <p:pic>
          <p:nvPicPr>
            <p:cNvPr id="1461" name="Picture 4">
              <a:extLst>
                <a:ext uri="{FF2B5EF4-FFF2-40B4-BE49-F238E27FC236}">
                  <a16:creationId xmlns:a16="http://schemas.microsoft.com/office/drawing/2014/main" id="{4CFCFB73-8091-D347-A600-1D2FE66D3B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40948" y="6455194"/>
              <a:ext cx="1421174" cy="2279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40665" y="1813714"/>
            <a:ext cx="4122619" cy="2020156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6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</a:t>
            </a:r>
            <a:r>
              <a:rPr lang="da-DK" err="1"/>
              <a:t>DMs</a:t>
            </a:r>
            <a:r>
              <a:rPr lang="da-DK"/>
              <a:t>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550982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</p:spTree>
    <p:extLst>
      <p:ext uri="{BB962C8B-B14F-4D97-AF65-F5344CB8AC3E}">
        <p14:creationId xmlns:p14="http://schemas.microsoft.com/office/powerpoint/2010/main" val="1359205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922014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8960254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82732905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ags" Target="../tags/tag21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3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45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3759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s ExtraBold, 36 p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30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506984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685" r:id="rId11"/>
    <p:sldLayoutId id="2147483687" r:id="rId12"/>
    <p:sldLayoutId id="2147483662" r:id="rId13"/>
    <p:sldLayoutId id="2147483663" r:id="rId14"/>
    <p:sldLayoutId id="2147483688" r:id="rId15"/>
    <p:sldLayoutId id="2147483664" r:id="rId16"/>
    <p:sldLayoutId id="2147483665" r:id="rId17"/>
    <p:sldLayoutId id="2147483666" r:id="rId18"/>
    <p:sldLayoutId id="2147483667" r:id="rId19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3759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s ExtraBold, 36 p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30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67894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3759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s ExtraBold, 36 p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30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336671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3759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4" imgH="405" progId="TCLayout.ActiveDocument.1">
                  <p:embed/>
                </p:oleObj>
              </mc:Choice>
              <mc:Fallback>
                <p:oleObj name="think-cell Slide" r:id="rId17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s ExtraBold, 36 p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30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73172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28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61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tags" Target="../tags/tag60.xml"/><Relationship Id="rId6" Type="http://schemas.openxmlformats.org/officeDocument/2006/relationships/image" Target="../media/image2.emf"/><Relationship Id="rId11" Type="http://schemas.openxmlformats.org/officeDocument/2006/relationships/image" Target="../media/image18.png"/><Relationship Id="rId24" Type="http://schemas.openxmlformats.org/officeDocument/2006/relationships/image" Target="../media/image31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image" Target="../media/image44.png"/><Relationship Id="rId16" Type="http://schemas.openxmlformats.org/officeDocument/2006/relationships/image" Target="../media/image58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0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CBAE754-9250-EBB1-7177-3B5C9DB8E9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529" y="4374778"/>
            <a:ext cx="10700946" cy="413139"/>
          </a:xfrm>
        </p:spPr>
        <p:txBody>
          <a:bodyPr/>
          <a:lstStyle/>
          <a:p>
            <a:r>
              <a:rPr lang="da-DK" dirty="0">
                <a:latin typeface="Verdana" panose="020B0604030504040204" pitchFamily="34" charset="0"/>
              </a:rPr>
              <a:t>Logoer til print og digitale format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CBD339DD-3940-0AC6-2BCA-C3D085CF21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529" y="5611237"/>
            <a:ext cx="5140944" cy="300512"/>
          </a:xfrm>
        </p:spPr>
        <p:txBody>
          <a:bodyPr/>
          <a:lstStyle/>
          <a:p>
            <a:r>
              <a:rPr lang="da-DK" dirty="0">
                <a:latin typeface="Verdana" panose="020B0604030504040204" pitchFamily="34" charset="0"/>
              </a:rPr>
              <a:t>Kan benyttes frit til arbejde med</a:t>
            </a:r>
            <a:br>
              <a:rPr lang="da-DK" dirty="0">
                <a:latin typeface="Verdana" panose="020B0604030504040204" pitchFamily="34" charset="0"/>
              </a:rPr>
            </a:br>
            <a:r>
              <a:rPr lang="da-DK" dirty="0">
                <a:latin typeface="Verdana" panose="020B0604030504040204" pitchFamily="34" charset="0"/>
              </a:rPr>
              <a:t>og omtale af AlmenKompas</a:t>
            </a:r>
          </a:p>
        </p:txBody>
      </p:sp>
    </p:spTree>
    <p:extLst>
      <p:ext uri="{BB962C8B-B14F-4D97-AF65-F5344CB8AC3E}">
        <p14:creationId xmlns:p14="http://schemas.microsoft.com/office/powerpoint/2010/main" val="1356909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F5BFC-F1CB-7F13-CBE5-4A23AA8F56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2334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EB8771-9F68-3822-7633-80E54CD7B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10" descr="decorative: Title 10">
            <a:extLst>
              <a:ext uri="{FF2B5EF4-FFF2-40B4-BE49-F238E27FC236}">
                <a16:creationId xmlns:a16="http://schemas.microsoft.com/office/drawing/2014/main" id="{C5514AE3-D34B-5FB2-A248-BA006F1E0E05}"/>
              </a:ext>
            </a:extLst>
          </p:cNvPr>
          <p:cNvSpPr txBox="1">
            <a:spLocks/>
          </p:cNvSpPr>
          <p:nvPr/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go til print – CMYK </a:t>
            </a:r>
            <a:r>
              <a:rPr lang="da-DK" sz="1400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kopier eller højreklik og gem som billede)</a:t>
            </a:r>
          </a:p>
        </p:txBody>
      </p:sp>
      <p:pic>
        <p:nvPicPr>
          <p:cNvPr id="4" name="Billede 3" descr="Et billede, der indeholder Grafik, grafisk design, skærmbillede, Font/skrifttype&#10;&#10;AI-genereret indhold kan være ukorrekt.">
            <a:extLst>
              <a:ext uri="{FF2B5EF4-FFF2-40B4-BE49-F238E27FC236}">
                <a16:creationId xmlns:a16="http://schemas.microsoft.com/office/drawing/2014/main" id="{87A5119D-993E-2DE7-D114-FA60301C2C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144" y="2514600"/>
            <a:ext cx="11135307" cy="177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955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8F17CA-CC2A-C2BD-BD13-DA66AAFEF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10" descr="decorative: Title 10">
            <a:extLst>
              <a:ext uri="{FF2B5EF4-FFF2-40B4-BE49-F238E27FC236}">
                <a16:creationId xmlns:a16="http://schemas.microsoft.com/office/drawing/2014/main" id="{1C193C92-9224-0C80-A12F-F43E5EE8FAFE}"/>
              </a:ext>
            </a:extLst>
          </p:cNvPr>
          <p:cNvSpPr txBox="1">
            <a:spLocks/>
          </p:cNvSpPr>
          <p:nvPr/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go til digitalt brug – RGB </a:t>
            </a:r>
            <a:r>
              <a:rPr lang="da-DK" sz="1400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kopier eller højreklik og gem som billede)</a:t>
            </a:r>
          </a:p>
        </p:txBody>
      </p:sp>
      <p:pic>
        <p:nvPicPr>
          <p:cNvPr id="3" name="Billede 2" descr="Et billede, der indeholder Grafik, grafisk design, Font/skrifttype, skærmbillede&#10;&#10;AI-genereret indhold kan være ukorrekt.">
            <a:extLst>
              <a:ext uri="{FF2B5EF4-FFF2-40B4-BE49-F238E27FC236}">
                <a16:creationId xmlns:a16="http://schemas.microsoft.com/office/drawing/2014/main" id="{A0C84182-E9AE-369B-85BE-B27C274450D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3"/>
          <a:stretch>
            <a:fillRect/>
          </a:stretch>
        </p:blipFill>
        <p:spPr>
          <a:xfrm>
            <a:off x="379050" y="2438401"/>
            <a:ext cx="11270025" cy="189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219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DBE91D-92FF-AD2F-EE6B-FE97972AB1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10" descr="decorative: Title 10">
            <a:extLst>
              <a:ext uri="{FF2B5EF4-FFF2-40B4-BE49-F238E27FC236}">
                <a16:creationId xmlns:a16="http://schemas.microsoft.com/office/drawing/2014/main" id="{0B9566B2-07CE-45BE-F684-8EB845548B18}"/>
              </a:ext>
            </a:extLst>
          </p:cNvPr>
          <p:cNvSpPr txBox="1">
            <a:spLocks/>
          </p:cNvSpPr>
          <p:nvPr/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aggrunds-illustration</a:t>
            </a:r>
            <a:br>
              <a:rPr lang="da-DK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sz="1400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bruges ofte med logoet placeret som vist nedenfor)</a:t>
            </a:r>
          </a:p>
        </p:txBody>
      </p:sp>
      <p:pic>
        <p:nvPicPr>
          <p:cNvPr id="4" name="Billede 3" descr="Et billede, der indeholder cirkel, skærmbillede, Farverigt, Grafik&#10;&#10;AI-genereret indhold kan være ukorrekt.">
            <a:extLst>
              <a:ext uri="{FF2B5EF4-FFF2-40B4-BE49-F238E27FC236}">
                <a16:creationId xmlns:a16="http://schemas.microsoft.com/office/drawing/2014/main" id="{09E1F73F-1D81-05AF-07DE-F75FAEE93F1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40" t="8170" r="19355" b="11545"/>
          <a:stretch>
            <a:fillRect/>
          </a:stretch>
        </p:blipFill>
        <p:spPr>
          <a:xfrm>
            <a:off x="6096000" y="43421"/>
            <a:ext cx="5083643" cy="6771158"/>
          </a:xfrm>
          <a:prstGeom prst="rect">
            <a:avLst/>
          </a:prstGeom>
        </p:spPr>
      </p:pic>
      <p:pic>
        <p:nvPicPr>
          <p:cNvPr id="6" name="Billede 5" descr="Et billede, der indeholder Grafik, cirkel, grafisk design, skærmbillede&#10;&#10;AI-genereret indhold kan være ukorrekt.">
            <a:extLst>
              <a:ext uri="{FF2B5EF4-FFF2-40B4-BE49-F238E27FC236}">
                <a16:creationId xmlns:a16="http://schemas.microsoft.com/office/drawing/2014/main" id="{432A90CE-5898-9A60-4D0E-4F8AB52DE2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4519140"/>
            <a:ext cx="3506727" cy="1967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210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5ACCE-3D98-C505-179D-9B76A4B7B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627941-79D2-578B-DDA2-5615361410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27941-79D2-578B-DDA2-561536141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0" descr="decorative: Title 10">
            <a:extLst>
              <a:ext uri="{FF2B5EF4-FFF2-40B4-BE49-F238E27FC236}">
                <a16:creationId xmlns:a16="http://schemas.microsoft.com/office/drawing/2014/main" id="{63476E3E-28B3-F1FD-CE33-1F2AFCD35A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AlmenKompas-målepunkterne – samlet overblik</a:t>
            </a:r>
          </a:p>
        </p:txBody>
      </p:sp>
      <p:sp>
        <p:nvSpPr>
          <p:cNvPr id="25" name="Text Placeholder 24" descr="decorative: Text Placeholder 24">
            <a:extLst>
              <a:ext uri="{FF2B5EF4-FFF2-40B4-BE49-F238E27FC236}">
                <a16:creationId xmlns:a16="http://schemas.microsoft.com/office/drawing/2014/main" id="{548C5E06-3697-B62B-261C-0C320FA0B7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8837" y="1078675"/>
            <a:ext cx="11376437" cy="245154"/>
          </a:xfrm>
        </p:spPr>
        <p:txBody>
          <a:bodyPr>
            <a:noAutofit/>
          </a:bodyPr>
          <a:lstStyle/>
          <a:p>
            <a:r>
              <a:rPr lang="da-DK" sz="2600" dirty="0">
                <a:solidFill>
                  <a:schemeClr val="accent1"/>
                </a:solidFill>
              </a:rPr>
              <a:t>Gem ikonerne til digitalt brug (RGB) og tryk (CMYK) fra næste sider</a:t>
            </a:r>
          </a:p>
        </p:txBody>
      </p:sp>
      <p:sp>
        <p:nvSpPr>
          <p:cNvPr id="52" name="Freeform: Shape 120" descr="decorative: Freeform: Shape 120">
            <a:extLst>
              <a:ext uri="{FF2B5EF4-FFF2-40B4-BE49-F238E27FC236}">
                <a16:creationId xmlns:a16="http://schemas.microsoft.com/office/drawing/2014/main" id="{37593E83-0BE6-C162-33DD-87BE6E8C3DB8}"/>
              </a:ext>
            </a:extLst>
          </p:cNvPr>
          <p:cNvSpPr/>
          <p:nvPr/>
        </p:nvSpPr>
        <p:spPr>
          <a:xfrm rot="10800000">
            <a:off x="-2260" y="1810193"/>
            <a:ext cx="3331670" cy="127928"/>
          </a:xfrm>
          <a:custGeom>
            <a:avLst/>
            <a:gdLst>
              <a:gd name="connsiteX0" fmla="*/ 4538615 w 4538615"/>
              <a:gd name="connsiteY0" fmla="*/ 73776 h 73776"/>
              <a:gd name="connsiteX1" fmla="*/ 3926064 w 4538615"/>
              <a:gd name="connsiteY1" fmla="*/ 30147 h 73776"/>
              <a:gd name="connsiteX2" fmla="*/ 2931277 w 4538615"/>
              <a:gd name="connsiteY2" fmla="*/ 10050 h 73776"/>
              <a:gd name="connsiteX3" fmla="*/ 1876200 w 4538615"/>
              <a:gd name="connsiteY3" fmla="*/ 20099 h 73776"/>
              <a:gd name="connsiteX4" fmla="*/ 0 w 4538615"/>
              <a:gd name="connsiteY4" fmla="*/ 0 h 73776"/>
              <a:gd name="connsiteX5" fmla="*/ 0 w 7352552"/>
              <a:gd name="connsiteY5" fmla="*/ 10046 h 83822"/>
              <a:gd name="connsiteX6" fmla="*/ 0 w 7439829"/>
              <a:gd name="connsiteY6" fmla="*/ 18077 h 91853"/>
              <a:gd name="connsiteX7" fmla="*/ 0 w 7439829"/>
              <a:gd name="connsiteY7" fmla="*/ 18077 h 91853"/>
              <a:gd name="connsiteX8" fmla="*/ 0 w 7439829"/>
              <a:gd name="connsiteY8" fmla="*/ 18077 h 91853"/>
              <a:gd name="connsiteX9" fmla="*/ 0 w 7439829"/>
              <a:gd name="connsiteY9" fmla="*/ 18077 h 92339"/>
              <a:gd name="connsiteX10" fmla="*/ 0 w 8943143"/>
              <a:gd name="connsiteY10" fmla="*/ 2733150 h 2784316"/>
              <a:gd name="connsiteX11" fmla="*/ 0 w 8943143"/>
              <a:gd name="connsiteY11" fmla="*/ 2793440 h 2844606"/>
              <a:gd name="connsiteX12" fmla="*/ 0 w 8943143"/>
              <a:gd name="connsiteY12" fmla="*/ 2793440 h 2844606"/>
              <a:gd name="connsiteX13" fmla="*/ 0 w 8943143"/>
              <a:gd name="connsiteY13" fmla="*/ 2793440 h 2844606"/>
              <a:gd name="connsiteX14" fmla="*/ 0 w 8943143"/>
              <a:gd name="connsiteY14" fmla="*/ 2793440 h 2844606"/>
              <a:gd name="connsiteX15" fmla="*/ 0 w 8943143"/>
              <a:gd name="connsiteY15" fmla="*/ 2793440 h 2844606"/>
              <a:gd name="connsiteX16" fmla="*/ 0 w 8943143"/>
              <a:gd name="connsiteY16" fmla="*/ 2793440 h 2844606"/>
              <a:gd name="connsiteX17" fmla="*/ 12890 w 8956033"/>
              <a:gd name="connsiteY17" fmla="*/ 2793440 h 2844606"/>
              <a:gd name="connsiteX18" fmla="*/ 12890 w 10101769"/>
              <a:gd name="connsiteY18" fmla="*/ 2793440 h 2844606"/>
              <a:gd name="connsiteX19" fmla="*/ 12890 w 11704427"/>
              <a:gd name="connsiteY19" fmla="*/ 2802390 h 2853556"/>
              <a:gd name="connsiteX20" fmla="*/ 12890 w 12056788"/>
              <a:gd name="connsiteY20" fmla="*/ 2793440 h 2844606"/>
              <a:gd name="connsiteX21" fmla="*/ 12890 w 11932818"/>
              <a:gd name="connsiteY21" fmla="*/ 2793440 h 2844606"/>
              <a:gd name="connsiteX22" fmla="*/ 12890 w 11932818"/>
              <a:gd name="connsiteY22" fmla="*/ 2793440 h 2844606"/>
              <a:gd name="connsiteX23" fmla="*/ 12890 w 11936930"/>
              <a:gd name="connsiteY23" fmla="*/ 2798069 h 2849235"/>
              <a:gd name="connsiteX24" fmla="*/ 12890 w 11731364"/>
              <a:gd name="connsiteY24" fmla="*/ 2926033 h 2988001"/>
              <a:gd name="connsiteX25" fmla="*/ 12890 w 11795893"/>
              <a:gd name="connsiteY25" fmla="*/ 2801753 h 2863721"/>
              <a:gd name="connsiteX26" fmla="*/ 10048 w 11731364"/>
              <a:gd name="connsiteY26" fmla="*/ 2822969 h 2874886"/>
              <a:gd name="connsiteX27" fmla="*/ 10048 w 11731364"/>
              <a:gd name="connsiteY27" fmla="*/ 2839005 h 2890922"/>
              <a:gd name="connsiteX28" fmla="*/ 10048 w 11731364"/>
              <a:gd name="connsiteY28" fmla="*/ 2839005 h 2890922"/>
              <a:gd name="connsiteX29" fmla="*/ 10048 w 11731364"/>
              <a:gd name="connsiteY29" fmla="*/ 2839005 h 2890922"/>
              <a:gd name="connsiteX30" fmla="*/ 10048 w 11731364"/>
              <a:gd name="connsiteY30" fmla="*/ 2839005 h 2890922"/>
              <a:gd name="connsiteX31" fmla="*/ 10048 w 11731364"/>
              <a:gd name="connsiteY31" fmla="*/ 2839005 h 2890922"/>
              <a:gd name="connsiteX32" fmla="*/ 10048 w 11731364"/>
              <a:gd name="connsiteY32" fmla="*/ 2839005 h 2890922"/>
              <a:gd name="connsiteX33" fmla="*/ 0 w 11851944"/>
              <a:gd name="connsiteY33" fmla="*/ 2818908 h 2890922"/>
              <a:gd name="connsiteX34" fmla="*/ 0 w 11851944"/>
              <a:gd name="connsiteY34" fmla="*/ 2818908 h 2919923"/>
              <a:gd name="connsiteX35" fmla="*/ 0 w 11851944"/>
              <a:gd name="connsiteY35" fmla="*/ 2818908 h 2934038"/>
              <a:gd name="connsiteX36" fmla="*/ 0 w 11851944"/>
              <a:gd name="connsiteY36" fmla="*/ 2818908 h 2949840"/>
              <a:gd name="connsiteX37" fmla="*/ 0 w 11851944"/>
              <a:gd name="connsiteY37" fmla="*/ 2818908 h 2969978"/>
              <a:gd name="connsiteX38" fmla="*/ 0 w 11851944"/>
              <a:gd name="connsiteY38" fmla="*/ 2818908 h 2969978"/>
              <a:gd name="connsiteX39" fmla="*/ 0 w 11851944"/>
              <a:gd name="connsiteY39" fmla="*/ 2818908 h 2969978"/>
              <a:gd name="connsiteX40" fmla="*/ 0 w 11851944"/>
              <a:gd name="connsiteY40" fmla="*/ 2818908 h 2969978"/>
              <a:gd name="connsiteX41" fmla="*/ 0 w 11851944"/>
              <a:gd name="connsiteY41" fmla="*/ 2818908 h 2969978"/>
              <a:gd name="connsiteX42" fmla="*/ 0 w 11851944"/>
              <a:gd name="connsiteY42" fmla="*/ 2818908 h 2969978"/>
              <a:gd name="connsiteX43" fmla="*/ 0 w 11851944"/>
              <a:gd name="connsiteY43" fmla="*/ 2818908 h 2969978"/>
              <a:gd name="connsiteX44" fmla="*/ 0 w 11851944"/>
              <a:gd name="connsiteY44" fmla="*/ 2818908 h 2969978"/>
              <a:gd name="connsiteX45" fmla="*/ 0 w 11851944"/>
              <a:gd name="connsiteY45" fmla="*/ 2818908 h 2969978"/>
              <a:gd name="connsiteX46" fmla="*/ 0 w 11851944"/>
              <a:gd name="connsiteY46" fmla="*/ 2818908 h 2969978"/>
              <a:gd name="connsiteX47" fmla="*/ 0 w 11851944"/>
              <a:gd name="connsiteY47" fmla="*/ 2818908 h 2969978"/>
              <a:gd name="connsiteX48" fmla="*/ 0 w 11851944"/>
              <a:gd name="connsiteY48" fmla="*/ 2818908 h 2969978"/>
              <a:gd name="connsiteX49" fmla="*/ 0 w 11851944"/>
              <a:gd name="connsiteY49" fmla="*/ 2818908 h 2969978"/>
              <a:gd name="connsiteX50" fmla="*/ 0 w 11851944"/>
              <a:gd name="connsiteY50" fmla="*/ 2818908 h 2969978"/>
              <a:gd name="connsiteX51" fmla="*/ 0 w 11851944"/>
              <a:gd name="connsiteY51" fmla="*/ 2818908 h 2969978"/>
              <a:gd name="connsiteX52" fmla="*/ 0 w 11851944"/>
              <a:gd name="connsiteY52" fmla="*/ 2818908 h 2969978"/>
              <a:gd name="connsiteX53" fmla="*/ 0 w 11851944"/>
              <a:gd name="connsiteY53" fmla="*/ 2818908 h 2969978"/>
              <a:gd name="connsiteX54" fmla="*/ 0 w 11851944"/>
              <a:gd name="connsiteY54" fmla="*/ 2818908 h 2969978"/>
              <a:gd name="connsiteX55" fmla="*/ 0 w 11857648"/>
              <a:gd name="connsiteY55" fmla="*/ 2818908 h 2969978"/>
              <a:gd name="connsiteX56" fmla="*/ 0 w 11860922"/>
              <a:gd name="connsiteY56" fmla="*/ 2818908 h 2969978"/>
              <a:gd name="connsiteX57" fmla="*/ 0 w 11867103"/>
              <a:gd name="connsiteY57" fmla="*/ 2818908 h 2969978"/>
              <a:gd name="connsiteX58" fmla="*/ 0 w 11867103"/>
              <a:gd name="connsiteY58" fmla="*/ 2818908 h 2969978"/>
              <a:gd name="connsiteX59" fmla="*/ 0 w 11867103"/>
              <a:gd name="connsiteY59" fmla="*/ 2818908 h 2969978"/>
              <a:gd name="connsiteX60" fmla="*/ 0 w 11867103"/>
              <a:gd name="connsiteY60" fmla="*/ 2785244 h 2936314"/>
              <a:gd name="connsiteX61" fmla="*/ 0 w 11867103"/>
              <a:gd name="connsiteY61" fmla="*/ 2785244 h 2936314"/>
              <a:gd name="connsiteX62" fmla="*/ 0 w 11867103"/>
              <a:gd name="connsiteY62" fmla="*/ 2785244 h 2936314"/>
              <a:gd name="connsiteX63" fmla="*/ 0 w 11867103"/>
              <a:gd name="connsiteY63" fmla="*/ 2785244 h 2936314"/>
              <a:gd name="connsiteX64" fmla="*/ 0 w 11867103"/>
              <a:gd name="connsiteY64" fmla="*/ 2785244 h 2936314"/>
              <a:gd name="connsiteX65" fmla="*/ 0 w 11867103"/>
              <a:gd name="connsiteY65" fmla="*/ 2785244 h 2936314"/>
              <a:gd name="connsiteX66" fmla="*/ 0 w 11867103"/>
              <a:gd name="connsiteY66" fmla="*/ 2785244 h 2936314"/>
              <a:gd name="connsiteX67" fmla="*/ 0 w 11867103"/>
              <a:gd name="connsiteY67" fmla="*/ 2785244 h 2936314"/>
              <a:gd name="connsiteX68" fmla="*/ 0 w 11867103"/>
              <a:gd name="connsiteY68" fmla="*/ 2785244 h 2936314"/>
              <a:gd name="connsiteX69" fmla="*/ 0 w 11867103"/>
              <a:gd name="connsiteY69" fmla="*/ 2785244 h 2936314"/>
              <a:gd name="connsiteX70" fmla="*/ 0 w 11867103"/>
              <a:gd name="connsiteY70" fmla="*/ 2785244 h 2936314"/>
              <a:gd name="connsiteX71" fmla="*/ 0 w 11867103"/>
              <a:gd name="connsiteY71" fmla="*/ 2785244 h 2936314"/>
              <a:gd name="connsiteX72" fmla="*/ 0 w 11867103"/>
              <a:gd name="connsiteY72" fmla="*/ 2785244 h 2936314"/>
              <a:gd name="connsiteX73" fmla="*/ 0 w 11867103"/>
              <a:gd name="connsiteY73" fmla="*/ 2785244 h 2936314"/>
              <a:gd name="connsiteX74" fmla="*/ 0 w 11867103"/>
              <a:gd name="connsiteY74" fmla="*/ 2806087 h 2957157"/>
              <a:gd name="connsiteX75" fmla="*/ 0 w 11867103"/>
              <a:gd name="connsiteY75" fmla="*/ 2805825 h 2956895"/>
              <a:gd name="connsiteX76" fmla="*/ 0 w 11867103"/>
              <a:gd name="connsiteY76" fmla="*/ 2805825 h 2956895"/>
              <a:gd name="connsiteX77" fmla="*/ 0 w 11867103"/>
              <a:gd name="connsiteY77" fmla="*/ 2803491 h 2954561"/>
              <a:gd name="connsiteX78" fmla="*/ 0 w 11867103"/>
              <a:gd name="connsiteY78" fmla="*/ 2814633 h 2965703"/>
              <a:gd name="connsiteX79" fmla="*/ 0 w 11867103"/>
              <a:gd name="connsiteY79" fmla="*/ 2813539 h 2964609"/>
              <a:gd name="connsiteX80" fmla="*/ 0 w 11867103"/>
              <a:gd name="connsiteY80" fmla="*/ 2813539 h 2964609"/>
              <a:gd name="connsiteX81" fmla="*/ 0 w 11867103"/>
              <a:gd name="connsiteY81" fmla="*/ 2813539 h 2964609"/>
              <a:gd name="connsiteX82" fmla="*/ 0 w 11867103"/>
              <a:gd name="connsiteY82" fmla="*/ 2813539 h 2964609"/>
              <a:gd name="connsiteX83" fmla="*/ 0 w 11867103"/>
              <a:gd name="connsiteY83" fmla="*/ 2813539 h 2964609"/>
              <a:gd name="connsiteX84" fmla="*/ 0 w 11867103"/>
              <a:gd name="connsiteY84" fmla="*/ 2813539 h 2964609"/>
              <a:gd name="connsiteX85" fmla="*/ 0 w 11867103"/>
              <a:gd name="connsiteY85" fmla="*/ 2813539 h 2964609"/>
              <a:gd name="connsiteX86" fmla="*/ 0 w 11867103"/>
              <a:gd name="connsiteY86" fmla="*/ 2813539 h 2964609"/>
              <a:gd name="connsiteX87" fmla="*/ 0 w 11867103"/>
              <a:gd name="connsiteY87" fmla="*/ 2813539 h 2964609"/>
              <a:gd name="connsiteX88" fmla="*/ 0 w 11867103"/>
              <a:gd name="connsiteY88" fmla="*/ 2813539 h 296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8615" h="73776">
                <a:moveTo>
                  <a:pt x="4538615" y="73776"/>
                </a:moveTo>
                <a:cubicBezTo>
                  <a:pt x="4397938" y="70427"/>
                  <a:pt x="4193954" y="40768"/>
                  <a:pt x="3926064" y="30147"/>
                </a:cubicBezTo>
                <a:lnTo>
                  <a:pt x="2931277" y="10050"/>
                </a:lnTo>
                <a:lnTo>
                  <a:pt x="1876200" y="20099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20" name="Rectangle: Rounded Corners 44" descr="decorative: Rectangle: Rounded Corners 44">
            <a:extLst>
              <a:ext uri="{FF2B5EF4-FFF2-40B4-BE49-F238E27FC236}">
                <a16:creationId xmlns:a16="http://schemas.microsoft.com/office/drawing/2014/main" id="{E00253D9-BCF3-0595-B03E-4FCFDD40EF2C}"/>
              </a:ext>
            </a:extLst>
          </p:cNvPr>
          <p:cNvSpPr/>
          <p:nvPr/>
        </p:nvSpPr>
        <p:spPr>
          <a:xfrm>
            <a:off x="9016821" y="1959765"/>
            <a:ext cx="119584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Governance</a:t>
            </a:r>
          </a:p>
        </p:txBody>
      </p:sp>
      <p:sp>
        <p:nvSpPr>
          <p:cNvPr id="57" name="Flowchart: Alternate Process 31" descr="decorative: Flowchart: Alternate Process 31">
            <a:extLst>
              <a:ext uri="{FF2B5EF4-FFF2-40B4-BE49-F238E27FC236}">
                <a16:creationId xmlns:a16="http://schemas.microsoft.com/office/drawing/2014/main" id="{BB8C048C-2FE2-E69D-DCFA-37E049DD80D4}"/>
              </a:ext>
            </a:extLst>
          </p:cNvPr>
          <p:cNvSpPr/>
          <p:nvPr/>
        </p:nvSpPr>
        <p:spPr>
          <a:xfrm>
            <a:off x="1855051" y="3282925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Energiforbrug</a:t>
            </a:r>
          </a:p>
        </p:txBody>
      </p:sp>
      <p:sp>
        <p:nvSpPr>
          <p:cNvPr id="59" name="Flowchart: Alternate Process 103" descr="decorative: Flowchart: Alternate Process 103">
            <a:extLst>
              <a:ext uri="{FF2B5EF4-FFF2-40B4-BE49-F238E27FC236}">
                <a16:creationId xmlns:a16="http://schemas.microsoft.com/office/drawing/2014/main" id="{F0149CD6-488C-FF89-E649-72E6DE352380}"/>
              </a:ext>
            </a:extLst>
          </p:cNvPr>
          <p:cNvSpPr/>
          <p:nvPr/>
        </p:nvSpPr>
        <p:spPr>
          <a:xfrm>
            <a:off x="8004559" y="2832164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Beboerdemokrati</a:t>
            </a:r>
          </a:p>
        </p:txBody>
      </p:sp>
      <p:cxnSp>
        <p:nvCxnSpPr>
          <p:cNvPr id="61" name="Straight Connector 116">
            <a:extLst>
              <a:ext uri="{FF2B5EF4-FFF2-40B4-BE49-F238E27FC236}">
                <a16:creationId xmlns:a16="http://schemas.microsoft.com/office/drawing/2014/main" id="{9A9F4530-2293-E35C-AF8C-52595D325C76}"/>
              </a:ext>
            </a:extLst>
          </p:cNvPr>
          <p:cNvCxnSpPr/>
          <p:nvPr/>
        </p:nvCxnSpPr>
        <p:spPr>
          <a:xfrm flipH="1">
            <a:off x="4584397" y="1595602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tangle: Rounded Corners 62" descr="decorative: Rectangle: Rounded Corners 62">
            <a:extLst>
              <a:ext uri="{FF2B5EF4-FFF2-40B4-BE49-F238E27FC236}">
                <a16:creationId xmlns:a16="http://schemas.microsoft.com/office/drawing/2014/main" id="{5E159E8D-D24F-CD6A-5031-6E74F54E006B}"/>
              </a:ext>
            </a:extLst>
          </p:cNvPr>
          <p:cNvSpPr/>
          <p:nvPr/>
        </p:nvSpPr>
        <p:spPr>
          <a:xfrm>
            <a:off x="2887293" y="1964373"/>
            <a:ext cx="48731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iljø</a:t>
            </a:r>
          </a:p>
        </p:txBody>
      </p:sp>
      <p:sp>
        <p:nvSpPr>
          <p:cNvPr id="63" name="Rectangle: Rounded Corners 85" descr="decorative: Rectangle: Rounded Corners 85">
            <a:extLst>
              <a:ext uri="{FF2B5EF4-FFF2-40B4-BE49-F238E27FC236}">
                <a16:creationId xmlns:a16="http://schemas.microsoft.com/office/drawing/2014/main" id="{CF577CE6-64DA-FD23-A225-B9CBA53BEBAD}"/>
              </a:ext>
            </a:extLst>
          </p:cNvPr>
          <p:cNvSpPr/>
          <p:nvPr/>
        </p:nvSpPr>
        <p:spPr>
          <a:xfrm>
            <a:off x="5905647" y="1969580"/>
            <a:ext cx="59952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ocial</a:t>
            </a:r>
          </a:p>
        </p:txBody>
      </p:sp>
      <p:sp>
        <p:nvSpPr>
          <p:cNvPr id="64" name="Rectangle: Rounded Corners 29" descr="decorative: Rectangle: Rounded Corners 29">
            <a:extLst>
              <a:ext uri="{FF2B5EF4-FFF2-40B4-BE49-F238E27FC236}">
                <a16:creationId xmlns:a16="http://schemas.microsoft.com/office/drawing/2014/main" id="{1B8EA9EB-4FBD-0BD1-3CD1-BEDE73C6349B}"/>
              </a:ext>
            </a:extLst>
          </p:cNvPr>
          <p:cNvSpPr/>
          <p:nvPr/>
        </p:nvSpPr>
        <p:spPr>
          <a:xfrm>
            <a:off x="1855051" y="2611827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KLIMAAFTRYK</a:t>
            </a:r>
          </a:p>
        </p:txBody>
      </p:sp>
      <p:sp>
        <p:nvSpPr>
          <p:cNvPr id="65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34E3396C-31ED-A2C5-B211-8B3F32134E77}"/>
              </a:ext>
            </a:extLst>
          </p:cNvPr>
          <p:cNvSpPr/>
          <p:nvPr/>
        </p:nvSpPr>
        <p:spPr>
          <a:xfrm>
            <a:off x="1855051" y="2833984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Klimaaftryk</a:t>
            </a:r>
          </a:p>
        </p:txBody>
      </p:sp>
      <p:sp>
        <p:nvSpPr>
          <p:cNvPr id="66" name="Flowchart: Alternate Process 32" descr="decorative: Flowchart: Alternate Process 32">
            <a:extLst>
              <a:ext uri="{FF2B5EF4-FFF2-40B4-BE49-F238E27FC236}">
                <a16:creationId xmlns:a16="http://schemas.microsoft.com/office/drawing/2014/main" id="{266308FC-C720-85B0-821A-A49CE7EF11A9}"/>
              </a:ext>
            </a:extLst>
          </p:cNvPr>
          <p:cNvSpPr/>
          <p:nvPr/>
        </p:nvSpPr>
        <p:spPr>
          <a:xfrm>
            <a:off x="1855051" y="3731866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Energimærkning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srgbClr val="004C4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67" name="Flowchart: Alternate Process 33" descr="decorative: Flowchart: Alternate Process 33">
            <a:extLst>
              <a:ext uri="{FF2B5EF4-FFF2-40B4-BE49-F238E27FC236}">
                <a16:creationId xmlns:a16="http://schemas.microsoft.com/office/drawing/2014/main" id="{9F3BEB2F-5F24-8362-C423-D3F2E7E0B42E}"/>
              </a:ext>
            </a:extLst>
          </p:cNvPr>
          <p:cNvSpPr/>
          <p:nvPr/>
        </p:nvSpPr>
        <p:spPr>
          <a:xfrm>
            <a:off x="1855051" y="4445121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årbarhed for klimaændringer </a:t>
            </a:r>
          </a:p>
        </p:txBody>
      </p:sp>
      <p:sp>
        <p:nvSpPr>
          <p:cNvPr id="68" name="Rectangle: Rounded Corners 40" descr="decorative: Rectangle: Rounded Corners 40">
            <a:extLst>
              <a:ext uri="{FF2B5EF4-FFF2-40B4-BE49-F238E27FC236}">
                <a16:creationId xmlns:a16="http://schemas.microsoft.com/office/drawing/2014/main" id="{3F48ECC3-38C5-77AB-ADCE-F5E5CB94063F}"/>
              </a:ext>
            </a:extLst>
          </p:cNvPr>
          <p:cNvSpPr/>
          <p:nvPr/>
        </p:nvSpPr>
        <p:spPr>
          <a:xfrm>
            <a:off x="1855051" y="4222964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KLIMATILPASNING</a:t>
            </a:r>
          </a:p>
        </p:txBody>
      </p:sp>
      <p:sp>
        <p:nvSpPr>
          <p:cNvPr id="69" name="Flowchart: Alternate Process 34" descr="decorative: Flowchart: Alternate Process 34">
            <a:extLst>
              <a:ext uri="{FF2B5EF4-FFF2-40B4-BE49-F238E27FC236}">
                <a16:creationId xmlns:a16="http://schemas.microsoft.com/office/drawing/2014/main" id="{5F8C34AE-FF2A-04C2-BB1A-F3F7E369FF0E}"/>
              </a:ext>
            </a:extLst>
          </p:cNvPr>
          <p:cNvSpPr/>
          <p:nvPr/>
        </p:nvSpPr>
        <p:spPr>
          <a:xfrm>
            <a:off x="1855051" y="5158376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Biodiversitet</a:t>
            </a:r>
          </a:p>
        </p:txBody>
      </p:sp>
      <p:sp>
        <p:nvSpPr>
          <p:cNvPr id="71" name="Rectangle: Rounded Corners 41" descr="decorative: Rectangle: Rounded Corners 41">
            <a:extLst>
              <a:ext uri="{FF2B5EF4-FFF2-40B4-BE49-F238E27FC236}">
                <a16:creationId xmlns:a16="http://schemas.microsoft.com/office/drawing/2014/main" id="{19143D0C-D2AB-9F94-0CB4-CEE4F23A6B79}"/>
              </a:ext>
            </a:extLst>
          </p:cNvPr>
          <p:cNvSpPr/>
          <p:nvPr/>
        </p:nvSpPr>
        <p:spPr>
          <a:xfrm>
            <a:off x="1855051" y="4936219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BIODIVERSITET</a:t>
            </a:r>
          </a:p>
        </p:txBody>
      </p:sp>
      <p:sp>
        <p:nvSpPr>
          <p:cNvPr id="72" name="Rectangle: Rounded Corners 49" descr="decorative: Rectangle: Rounded Corners 49">
            <a:extLst>
              <a:ext uri="{FF2B5EF4-FFF2-40B4-BE49-F238E27FC236}">
                <a16:creationId xmlns:a16="http://schemas.microsoft.com/office/drawing/2014/main" id="{00B0F7ED-C712-FC25-9662-B37E4374D66F}"/>
              </a:ext>
            </a:extLst>
          </p:cNvPr>
          <p:cNvSpPr/>
          <p:nvPr/>
        </p:nvSpPr>
        <p:spPr>
          <a:xfrm>
            <a:off x="1855051" y="5649473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solidFill>
              <a:srgbClr val="339C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CIRKULARITET</a:t>
            </a:r>
          </a:p>
        </p:txBody>
      </p:sp>
      <p:sp>
        <p:nvSpPr>
          <p:cNvPr id="73" name="Rectangle: Rounded Corners 74" descr="decorative: Rectangle: Rounded Corners 74">
            <a:extLst>
              <a:ext uri="{FF2B5EF4-FFF2-40B4-BE49-F238E27FC236}">
                <a16:creationId xmlns:a16="http://schemas.microsoft.com/office/drawing/2014/main" id="{59E9E619-BB83-B89B-D793-8715D8F2DC7F}"/>
              </a:ext>
            </a:extLst>
          </p:cNvPr>
          <p:cNvSpPr/>
          <p:nvPr/>
        </p:nvSpPr>
        <p:spPr>
          <a:xfrm>
            <a:off x="4859361" y="2609137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EDARBEJDERE</a:t>
            </a:r>
          </a:p>
        </p:txBody>
      </p:sp>
      <p:sp>
        <p:nvSpPr>
          <p:cNvPr id="74" name="Flowchart: Alternate Process 76" descr="decorative: Flowchart: Alternate Process 76">
            <a:extLst>
              <a:ext uri="{FF2B5EF4-FFF2-40B4-BE49-F238E27FC236}">
                <a16:creationId xmlns:a16="http://schemas.microsoft.com/office/drawing/2014/main" id="{42C9E308-9311-3C91-7803-FA772D8F07E6}"/>
              </a:ext>
            </a:extLst>
          </p:cNvPr>
          <p:cNvSpPr/>
          <p:nvPr/>
        </p:nvSpPr>
        <p:spPr>
          <a:xfrm>
            <a:off x="4859361" y="283368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edarbejdersammen-sætning</a:t>
            </a:r>
          </a:p>
        </p:txBody>
      </p:sp>
      <p:sp>
        <p:nvSpPr>
          <p:cNvPr id="76" name="Flowchart: Alternate Process 77" descr="decorative: Flowchart: Alternate Process 77">
            <a:extLst>
              <a:ext uri="{FF2B5EF4-FFF2-40B4-BE49-F238E27FC236}">
                <a16:creationId xmlns:a16="http://schemas.microsoft.com/office/drawing/2014/main" id="{C603C501-3C6F-8A98-E8C1-171CB05A6C4F}"/>
              </a:ext>
            </a:extLst>
          </p:cNvPr>
          <p:cNvSpPr/>
          <p:nvPr/>
        </p:nvSpPr>
        <p:spPr>
          <a:xfrm>
            <a:off x="4859361" y="3202233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edarbejdertrivsel</a:t>
            </a:r>
          </a:p>
        </p:txBody>
      </p:sp>
      <p:sp>
        <p:nvSpPr>
          <p:cNvPr id="79" name="Rectangle: Rounded Corners 92" descr="decorative: Rectangle: Rounded Corners 92">
            <a:extLst>
              <a:ext uri="{FF2B5EF4-FFF2-40B4-BE49-F238E27FC236}">
                <a16:creationId xmlns:a16="http://schemas.microsoft.com/office/drawing/2014/main" id="{B5C52086-E6C6-8A81-EFE6-B43CA642CEF7}"/>
              </a:ext>
            </a:extLst>
          </p:cNvPr>
          <p:cNvSpPr/>
          <p:nvPr/>
        </p:nvSpPr>
        <p:spPr>
          <a:xfrm>
            <a:off x="4859361" y="3615329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OKALOMRÅDE</a:t>
            </a:r>
          </a:p>
        </p:txBody>
      </p:sp>
      <p:sp>
        <p:nvSpPr>
          <p:cNvPr id="80" name="Flowchart: Alternate Process 94" descr="decorative: Flowchart: Alternate Process 94">
            <a:extLst>
              <a:ext uri="{FF2B5EF4-FFF2-40B4-BE49-F238E27FC236}">
                <a16:creationId xmlns:a16="http://schemas.microsoft.com/office/drawing/2014/main" id="{64DFD555-E873-1FC0-E061-F4CCFCDADE42}"/>
              </a:ext>
            </a:extLst>
          </p:cNvPr>
          <p:cNvSpPr/>
          <p:nvPr/>
        </p:nvSpPr>
        <p:spPr>
          <a:xfrm>
            <a:off x="4859361" y="420842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ndel af almene boliger i området</a:t>
            </a:r>
          </a:p>
        </p:txBody>
      </p:sp>
      <p:sp>
        <p:nvSpPr>
          <p:cNvPr id="81" name="Flowchart: Alternate Process 95" descr="decorative: Flowchart: Alternate Process 95">
            <a:extLst>
              <a:ext uri="{FF2B5EF4-FFF2-40B4-BE49-F238E27FC236}">
                <a16:creationId xmlns:a16="http://schemas.microsoft.com/office/drawing/2014/main" id="{37BBC4E1-B4E0-9898-351D-039E4E372BB4}"/>
              </a:ext>
            </a:extLst>
          </p:cNvPr>
          <p:cNvSpPr/>
          <p:nvPr/>
        </p:nvSpPr>
        <p:spPr>
          <a:xfrm>
            <a:off x="4866159" y="5957353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ivschancer</a:t>
            </a:r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82" name="Rectangle: Rounded Corners 97" descr="decorative: Rectangle: Rounded Corners 97">
            <a:extLst>
              <a:ext uri="{FF2B5EF4-FFF2-40B4-BE49-F238E27FC236}">
                <a16:creationId xmlns:a16="http://schemas.microsoft.com/office/drawing/2014/main" id="{17E11418-2BBA-7ED0-36C2-37568D6382E6}"/>
              </a:ext>
            </a:extLst>
          </p:cNvPr>
          <p:cNvSpPr/>
          <p:nvPr/>
        </p:nvSpPr>
        <p:spPr>
          <a:xfrm>
            <a:off x="4859361" y="4995334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BEBOERE</a:t>
            </a:r>
          </a:p>
        </p:txBody>
      </p:sp>
      <p:sp>
        <p:nvSpPr>
          <p:cNvPr id="83" name="Flowchart: Alternate Process 98" descr="decorative: Flowchart: Alternate Process 98">
            <a:extLst>
              <a:ext uri="{FF2B5EF4-FFF2-40B4-BE49-F238E27FC236}">
                <a16:creationId xmlns:a16="http://schemas.microsoft.com/office/drawing/2014/main" id="{14F905C0-AC1B-8008-F1FA-8AE4F1CF1570}"/>
              </a:ext>
            </a:extLst>
          </p:cNvPr>
          <p:cNvSpPr/>
          <p:nvPr/>
        </p:nvSpPr>
        <p:spPr>
          <a:xfrm>
            <a:off x="4859361" y="557071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ivskvalitet og Sundhed</a:t>
            </a:r>
          </a:p>
        </p:txBody>
      </p:sp>
      <p:sp>
        <p:nvSpPr>
          <p:cNvPr id="116" name="Rectangle: Rounded Corners 102" descr="decorative: Rectangle: Rounded Corners 102">
            <a:extLst>
              <a:ext uri="{FF2B5EF4-FFF2-40B4-BE49-F238E27FC236}">
                <a16:creationId xmlns:a16="http://schemas.microsoft.com/office/drawing/2014/main" id="{B5C2811E-C392-4E22-05A2-701E7D4DF777}"/>
              </a:ext>
            </a:extLst>
          </p:cNvPr>
          <p:cNvSpPr/>
          <p:nvPr/>
        </p:nvSpPr>
        <p:spPr>
          <a:xfrm>
            <a:off x="8004559" y="2607219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KTIV DELTAGELSE</a:t>
            </a:r>
          </a:p>
        </p:txBody>
      </p:sp>
      <p:sp>
        <p:nvSpPr>
          <p:cNvPr id="118" name="Flowchart: Alternate Process 104" descr="decorative: Flowchart: Alternate Process 104">
            <a:extLst>
              <a:ext uri="{FF2B5EF4-FFF2-40B4-BE49-F238E27FC236}">
                <a16:creationId xmlns:a16="http://schemas.microsoft.com/office/drawing/2014/main" id="{A9C84C87-BA6C-B9C8-CC82-E3250F3003E0}"/>
              </a:ext>
            </a:extLst>
          </p:cNvPr>
          <p:cNvSpPr/>
          <p:nvPr/>
        </p:nvSpPr>
        <p:spPr>
          <a:xfrm>
            <a:off x="8004559" y="3323297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rivillighed</a:t>
            </a:r>
          </a:p>
        </p:txBody>
      </p:sp>
      <p:sp>
        <p:nvSpPr>
          <p:cNvPr id="119" name="Rectangle: Rounded Corners 107" descr="decorative: Rectangle: Rounded Corners 107">
            <a:extLst>
              <a:ext uri="{FF2B5EF4-FFF2-40B4-BE49-F238E27FC236}">
                <a16:creationId xmlns:a16="http://schemas.microsoft.com/office/drawing/2014/main" id="{8C92A722-DA7F-AA80-AE7F-411E6120813B}"/>
              </a:ext>
            </a:extLst>
          </p:cNvPr>
          <p:cNvSpPr/>
          <p:nvPr/>
        </p:nvSpPr>
        <p:spPr>
          <a:xfrm>
            <a:off x="8004559" y="3859375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TYRING</a:t>
            </a:r>
          </a:p>
        </p:txBody>
      </p:sp>
      <p:sp>
        <p:nvSpPr>
          <p:cNvPr id="125" name="Flowchart: Alternate Process 108" descr="decorative: Flowchart: Alternate Process 108">
            <a:extLst>
              <a:ext uri="{FF2B5EF4-FFF2-40B4-BE49-F238E27FC236}">
                <a16:creationId xmlns:a16="http://schemas.microsoft.com/office/drawing/2014/main" id="{02081E34-BFF8-DA3D-7E1C-23B81312F099}"/>
              </a:ext>
            </a:extLst>
          </p:cNvPr>
          <p:cNvSpPr/>
          <p:nvPr/>
        </p:nvSpPr>
        <p:spPr>
          <a:xfrm>
            <a:off x="8004559" y="4084320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Økonomistyring</a:t>
            </a:r>
          </a:p>
        </p:txBody>
      </p:sp>
      <p:sp>
        <p:nvSpPr>
          <p:cNvPr id="126" name="Rectangle: Rounded Corners 111" descr="decorative: Rectangle: Rounded Corners 111">
            <a:extLst>
              <a:ext uri="{FF2B5EF4-FFF2-40B4-BE49-F238E27FC236}">
                <a16:creationId xmlns:a16="http://schemas.microsoft.com/office/drawing/2014/main" id="{90738C1F-78B0-F980-AC57-9EB8E25AE80C}"/>
              </a:ext>
            </a:extLst>
          </p:cNvPr>
          <p:cNvSpPr/>
          <p:nvPr/>
        </p:nvSpPr>
        <p:spPr>
          <a:xfrm>
            <a:off x="8004559" y="5111531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NSVARLIGHED</a:t>
            </a:r>
          </a:p>
        </p:txBody>
      </p:sp>
      <p:sp>
        <p:nvSpPr>
          <p:cNvPr id="127" name="Flowchart: Alternate Process 112" descr="decorative: Flowchart: Alternate Process 112">
            <a:extLst>
              <a:ext uri="{FF2B5EF4-FFF2-40B4-BE49-F238E27FC236}">
                <a16:creationId xmlns:a16="http://schemas.microsoft.com/office/drawing/2014/main" id="{49B9B4AC-91A4-4128-337E-74D1A8DDB0F9}"/>
              </a:ext>
            </a:extLst>
          </p:cNvPr>
          <p:cNvSpPr/>
          <p:nvPr/>
        </p:nvSpPr>
        <p:spPr>
          <a:xfrm>
            <a:off x="8004559" y="5336476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olitikker og praksis</a:t>
            </a:r>
          </a:p>
        </p:txBody>
      </p:sp>
      <p:sp>
        <p:nvSpPr>
          <p:cNvPr id="128" name="Flowchart: Alternate Process 93" descr="decorative: Flowchart: Alternate Process 93">
            <a:extLst>
              <a:ext uri="{FF2B5EF4-FFF2-40B4-BE49-F238E27FC236}">
                <a16:creationId xmlns:a16="http://schemas.microsoft.com/office/drawing/2014/main" id="{AAC6879E-DD6C-7C0C-0AC7-893F5B733921}"/>
              </a:ext>
            </a:extLst>
          </p:cNvPr>
          <p:cNvSpPr/>
          <p:nvPr/>
        </p:nvSpPr>
        <p:spPr>
          <a:xfrm>
            <a:off x="4859361" y="383987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lmenboligers betalbarhed</a:t>
            </a:r>
          </a:p>
        </p:txBody>
      </p:sp>
      <p:sp>
        <p:nvSpPr>
          <p:cNvPr id="129" name="Flowchart: Alternate Process 3" descr="decorative: Flowchart: Alternate Process 3">
            <a:extLst>
              <a:ext uri="{FF2B5EF4-FFF2-40B4-BE49-F238E27FC236}">
                <a16:creationId xmlns:a16="http://schemas.microsoft.com/office/drawing/2014/main" id="{B380F025-480C-61DA-FBB3-40AD356D665C}"/>
              </a:ext>
            </a:extLst>
          </p:cNvPr>
          <p:cNvSpPr/>
          <p:nvPr/>
        </p:nvSpPr>
        <p:spPr>
          <a:xfrm>
            <a:off x="4859361" y="4576973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287655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/>
                <a:ea typeface="Verdana"/>
                <a:cs typeface="Arial"/>
              </a:rPr>
              <a:t>Funktioner i området</a:t>
            </a:r>
            <a:endParaRPr kumimoji="0" lang="da-DK" sz="10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130" name="Flowchart: Alternate Process 11" descr="decorative: Flowchart: Alternate Process 11">
            <a:extLst>
              <a:ext uri="{FF2B5EF4-FFF2-40B4-BE49-F238E27FC236}">
                <a16:creationId xmlns:a16="http://schemas.microsoft.com/office/drawing/2014/main" id="{5BB853C1-2985-F2D5-30C0-B2FDBD8E6424}"/>
              </a:ext>
            </a:extLst>
          </p:cNvPr>
          <p:cNvSpPr/>
          <p:nvPr/>
        </p:nvSpPr>
        <p:spPr>
          <a:xfrm>
            <a:off x="8004559" y="5827613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ociale klausuler</a:t>
            </a:r>
          </a:p>
        </p:txBody>
      </p:sp>
      <p:sp>
        <p:nvSpPr>
          <p:cNvPr id="131" name="Flowchart: Alternate Process 4" descr="decorative: Flowchart: Alternate Process 4">
            <a:extLst>
              <a:ext uri="{FF2B5EF4-FFF2-40B4-BE49-F238E27FC236}">
                <a16:creationId xmlns:a16="http://schemas.microsoft.com/office/drawing/2014/main" id="{92CFB7D4-A447-D60C-0405-81E18868F4AF}"/>
              </a:ext>
            </a:extLst>
          </p:cNvPr>
          <p:cNvSpPr/>
          <p:nvPr/>
        </p:nvSpPr>
        <p:spPr>
          <a:xfrm>
            <a:off x="4859361" y="5210171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okalt fællesskab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132" name="Flowchart: Alternate Process 109" descr="decorative: Flowchart: Alternate Process 109">
            <a:extLst>
              <a:ext uri="{FF2B5EF4-FFF2-40B4-BE49-F238E27FC236}">
                <a16:creationId xmlns:a16="http://schemas.microsoft.com/office/drawing/2014/main" id="{E510D956-11B5-B8E6-8F61-95DE78705CB7}"/>
              </a:ext>
            </a:extLst>
          </p:cNvPr>
          <p:cNvSpPr/>
          <p:nvPr/>
        </p:nvSpPr>
        <p:spPr>
          <a:xfrm>
            <a:off x="8004559" y="4575453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Overholdelse af regulering</a:t>
            </a:r>
          </a:p>
        </p:txBody>
      </p:sp>
      <p:sp>
        <p:nvSpPr>
          <p:cNvPr id="133" name="Flowchart: Alternate Process 34" descr="decorative: Flowchart: Alternate Process 34">
            <a:extLst>
              <a:ext uri="{FF2B5EF4-FFF2-40B4-BE49-F238E27FC236}">
                <a16:creationId xmlns:a16="http://schemas.microsoft.com/office/drawing/2014/main" id="{C3E88907-6D5D-ACE1-538E-8D854F6C54F7}"/>
              </a:ext>
            </a:extLst>
          </p:cNvPr>
          <p:cNvSpPr/>
          <p:nvPr/>
        </p:nvSpPr>
        <p:spPr>
          <a:xfrm>
            <a:off x="1855051" y="5871625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ffald</a:t>
            </a:r>
          </a:p>
        </p:txBody>
      </p:sp>
      <p:grpSp>
        <p:nvGrpSpPr>
          <p:cNvPr id="134" name="Group 330">
            <a:extLst>
              <a:ext uri="{FF2B5EF4-FFF2-40B4-BE49-F238E27FC236}">
                <a16:creationId xmlns:a16="http://schemas.microsoft.com/office/drawing/2014/main" id="{50A71974-1643-C372-2741-A4E756E0331C}"/>
              </a:ext>
            </a:extLst>
          </p:cNvPr>
          <p:cNvGrpSpPr/>
          <p:nvPr/>
        </p:nvGrpSpPr>
        <p:grpSpPr>
          <a:xfrm>
            <a:off x="1855051" y="1598292"/>
            <a:ext cx="958810" cy="966280"/>
            <a:chOff x="4156082" y="-3024236"/>
            <a:chExt cx="2183420" cy="2200431"/>
          </a:xfrm>
        </p:grpSpPr>
        <p:sp>
          <p:nvSpPr>
            <p:cNvPr id="135" name="Freeform: Shape 328" descr="decorative: Freeform: Shape 328">
              <a:extLst>
                <a:ext uri="{FF2B5EF4-FFF2-40B4-BE49-F238E27FC236}">
                  <a16:creationId xmlns:a16="http://schemas.microsoft.com/office/drawing/2014/main" id="{7588D31C-9C7D-F535-2FFB-D5BB04F5D884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  <a:gd name="connsiteX83" fmla="*/ 1036048 w 2150240"/>
                <a:gd name="connsiteY83" fmla="*/ 2388 h 2146167"/>
                <a:gd name="connsiteX84" fmla="*/ 1036048 w 2150240"/>
                <a:gd name="connsiteY84" fmla="*/ 2388 h 2146167"/>
                <a:gd name="connsiteX85" fmla="*/ 1036048 w 2150240"/>
                <a:gd name="connsiteY85" fmla="*/ 2388 h 2146167"/>
                <a:gd name="connsiteX86" fmla="*/ 1036048 w 2150240"/>
                <a:gd name="connsiteY86" fmla="*/ 2388 h 2146167"/>
                <a:gd name="connsiteX87" fmla="*/ 1096373 w 2150240"/>
                <a:gd name="connsiteY87" fmla="*/ 7845 h 2129399"/>
                <a:gd name="connsiteX88" fmla="*/ 1080498 w 2150240"/>
                <a:gd name="connsiteY88" fmla="*/ 6 h 2099335"/>
                <a:gd name="connsiteX89" fmla="*/ 1080498 w 2150240"/>
                <a:gd name="connsiteY89" fmla="*/ 6 h 2099335"/>
                <a:gd name="connsiteX90" fmla="*/ 1197973 w 2150240"/>
                <a:gd name="connsiteY90" fmla="*/ 35614 h 2100018"/>
                <a:gd name="connsiteX91" fmla="*/ 1197973 w 2150240"/>
                <a:gd name="connsiteY91" fmla="*/ 35614 h 2100018"/>
                <a:gd name="connsiteX92" fmla="*/ 1197973 w 2150240"/>
                <a:gd name="connsiteY92" fmla="*/ 35614 h 2100018"/>
                <a:gd name="connsiteX93" fmla="*/ 1197973 w 2150240"/>
                <a:gd name="connsiteY93" fmla="*/ 35614 h 2100018"/>
                <a:gd name="connsiteX94" fmla="*/ 1197973 w 2150240"/>
                <a:gd name="connsiteY94" fmla="*/ 35614 h 2089839"/>
                <a:gd name="connsiteX95" fmla="*/ 1197973 w 2150240"/>
                <a:gd name="connsiteY95" fmla="*/ 35614 h 2089839"/>
                <a:gd name="connsiteX96" fmla="*/ 1197973 w 2150240"/>
                <a:gd name="connsiteY96" fmla="*/ 35614 h 2089839"/>
                <a:gd name="connsiteX97" fmla="*/ 1197973 w 2150240"/>
                <a:gd name="connsiteY97" fmla="*/ 35614 h 2089839"/>
                <a:gd name="connsiteX98" fmla="*/ 1197973 w 2150240"/>
                <a:gd name="connsiteY98" fmla="*/ 35614 h 2089839"/>
                <a:gd name="connsiteX99" fmla="*/ 1197973 w 2150240"/>
                <a:gd name="connsiteY99" fmla="*/ 35614 h 2089839"/>
                <a:gd name="connsiteX100" fmla="*/ 1197973 w 2150240"/>
                <a:gd name="connsiteY100" fmla="*/ 35614 h 2089839"/>
                <a:gd name="connsiteX101" fmla="*/ 1197973 w 2150240"/>
                <a:gd name="connsiteY101" fmla="*/ 35614 h 2089839"/>
                <a:gd name="connsiteX102" fmla="*/ 1197973 w 2145038"/>
                <a:gd name="connsiteY102" fmla="*/ 35614 h 2089839"/>
                <a:gd name="connsiteX103" fmla="*/ 1197973 w 2145038"/>
                <a:gd name="connsiteY103" fmla="*/ 35614 h 2089839"/>
                <a:gd name="connsiteX104" fmla="*/ 1197973 w 2145038"/>
                <a:gd name="connsiteY104" fmla="*/ 35614 h 2089839"/>
                <a:gd name="connsiteX105" fmla="*/ 1197973 w 2145038"/>
                <a:gd name="connsiteY105" fmla="*/ 35614 h 2089839"/>
                <a:gd name="connsiteX106" fmla="*/ 1197973 w 2145038"/>
                <a:gd name="connsiteY106" fmla="*/ 35614 h 2089839"/>
                <a:gd name="connsiteX107" fmla="*/ 1197973 w 2145038"/>
                <a:gd name="connsiteY107" fmla="*/ 35614 h 2089839"/>
                <a:gd name="connsiteX108" fmla="*/ 1197973 w 2145038"/>
                <a:gd name="connsiteY108" fmla="*/ 35614 h 2089839"/>
                <a:gd name="connsiteX109" fmla="*/ 1197973 w 2145038"/>
                <a:gd name="connsiteY109" fmla="*/ 35614 h 2089839"/>
                <a:gd name="connsiteX110" fmla="*/ 1197973 w 2145038"/>
                <a:gd name="connsiteY110" fmla="*/ 35614 h 2089839"/>
                <a:gd name="connsiteX111" fmla="*/ 1197973 w 2145038"/>
                <a:gd name="connsiteY111" fmla="*/ 35614 h 2089839"/>
                <a:gd name="connsiteX112" fmla="*/ 1197973 w 2145038"/>
                <a:gd name="connsiteY112" fmla="*/ 35614 h 2089839"/>
                <a:gd name="connsiteX113" fmla="*/ 1197973 w 2145038"/>
                <a:gd name="connsiteY113" fmla="*/ 35614 h 2089839"/>
                <a:gd name="connsiteX114" fmla="*/ 1197973 w 2145038"/>
                <a:gd name="connsiteY114" fmla="*/ 35614 h 2089839"/>
                <a:gd name="connsiteX115" fmla="*/ 1197973 w 2145038"/>
                <a:gd name="connsiteY115" fmla="*/ 35614 h 2089839"/>
                <a:gd name="connsiteX116" fmla="*/ 1197973 w 2145038"/>
                <a:gd name="connsiteY116" fmla="*/ 35614 h 2089839"/>
                <a:gd name="connsiteX117" fmla="*/ 1197973 w 2145038"/>
                <a:gd name="connsiteY117" fmla="*/ 35614 h 2089839"/>
                <a:gd name="connsiteX118" fmla="*/ 1197973 w 2145038"/>
                <a:gd name="connsiteY118" fmla="*/ 35614 h 2089839"/>
                <a:gd name="connsiteX119" fmla="*/ 1197973 w 2145038"/>
                <a:gd name="connsiteY119" fmla="*/ 35614 h 2089839"/>
                <a:gd name="connsiteX120" fmla="*/ 1197973 w 2145038"/>
                <a:gd name="connsiteY120" fmla="*/ 35614 h 2089839"/>
                <a:gd name="connsiteX121" fmla="*/ 1197973 w 2145038"/>
                <a:gd name="connsiteY121" fmla="*/ 35614 h 2089839"/>
                <a:gd name="connsiteX122" fmla="*/ 1197973 w 2145038"/>
                <a:gd name="connsiteY122" fmla="*/ 35614 h 2089839"/>
                <a:gd name="connsiteX123" fmla="*/ 1197973 w 2145038"/>
                <a:gd name="connsiteY123" fmla="*/ 35614 h 2089839"/>
                <a:gd name="connsiteX124" fmla="*/ 1197973 w 2145038"/>
                <a:gd name="connsiteY124" fmla="*/ 35614 h 2089839"/>
                <a:gd name="connsiteX125" fmla="*/ 1197973 w 2145038"/>
                <a:gd name="connsiteY125" fmla="*/ 35614 h 2089839"/>
                <a:gd name="connsiteX126" fmla="*/ 1197973 w 2145038"/>
                <a:gd name="connsiteY126" fmla="*/ 35614 h 2089839"/>
                <a:gd name="connsiteX127" fmla="*/ 1197973 w 2145038"/>
                <a:gd name="connsiteY127" fmla="*/ 35614 h 2089839"/>
                <a:gd name="connsiteX128" fmla="*/ 1197973 w 2145038"/>
                <a:gd name="connsiteY128" fmla="*/ 35614 h 2089839"/>
                <a:gd name="connsiteX129" fmla="*/ 1197973 w 2145038"/>
                <a:gd name="connsiteY129" fmla="*/ 35614 h 2089839"/>
                <a:gd name="connsiteX130" fmla="*/ 1296398 w 2145038"/>
                <a:gd name="connsiteY130" fmla="*/ 47633 h 2079633"/>
                <a:gd name="connsiteX131" fmla="*/ 1296398 w 2145038"/>
                <a:gd name="connsiteY131" fmla="*/ 47633 h 2079633"/>
                <a:gd name="connsiteX132" fmla="*/ 1296398 w 2145038"/>
                <a:gd name="connsiteY132" fmla="*/ 47633 h 2079633"/>
                <a:gd name="connsiteX133" fmla="*/ 1296398 w 2145038"/>
                <a:gd name="connsiteY133" fmla="*/ 47633 h 2079633"/>
                <a:gd name="connsiteX134" fmla="*/ 1296398 w 2145038"/>
                <a:gd name="connsiteY134" fmla="*/ 47633 h 2079633"/>
                <a:gd name="connsiteX135" fmla="*/ 1296398 w 2145038"/>
                <a:gd name="connsiteY135" fmla="*/ 47633 h 2079633"/>
                <a:gd name="connsiteX136" fmla="*/ 1296398 w 2142482"/>
                <a:gd name="connsiteY136" fmla="*/ 47633 h 2079633"/>
                <a:gd name="connsiteX137" fmla="*/ 1296398 w 2127003"/>
                <a:gd name="connsiteY137" fmla="*/ 47633 h 2079633"/>
                <a:gd name="connsiteX138" fmla="*/ 1296398 w 2127003"/>
                <a:gd name="connsiteY138" fmla="*/ 47633 h 2079633"/>
                <a:gd name="connsiteX139" fmla="*/ 1296398 w 2127003"/>
                <a:gd name="connsiteY139" fmla="*/ 47633 h 2079633"/>
                <a:gd name="connsiteX140" fmla="*/ 1296398 w 2127003"/>
                <a:gd name="connsiteY140" fmla="*/ 47633 h 2079633"/>
                <a:gd name="connsiteX141" fmla="*/ 1296398 w 2127003"/>
                <a:gd name="connsiteY141" fmla="*/ 47633 h 2079633"/>
                <a:gd name="connsiteX142" fmla="*/ 1296398 w 2127003"/>
                <a:gd name="connsiteY142" fmla="*/ 47633 h 2079633"/>
                <a:gd name="connsiteX143" fmla="*/ 1296398 w 2122420"/>
                <a:gd name="connsiteY143" fmla="*/ 47633 h 2079633"/>
                <a:gd name="connsiteX144" fmla="*/ 1296398 w 2109198"/>
                <a:gd name="connsiteY144" fmla="*/ 47633 h 2079633"/>
                <a:gd name="connsiteX145" fmla="*/ 1296398 w 2119028"/>
                <a:gd name="connsiteY145" fmla="*/ 47633 h 2079633"/>
                <a:gd name="connsiteX146" fmla="*/ 1296398 w 2114197"/>
                <a:gd name="connsiteY146" fmla="*/ 47633 h 2079633"/>
                <a:gd name="connsiteX147" fmla="*/ 1296398 w 2124111"/>
                <a:gd name="connsiteY147" fmla="*/ 47633 h 2079633"/>
                <a:gd name="connsiteX148" fmla="*/ 1296398 w 2124111"/>
                <a:gd name="connsiteY148" fmla="*/ 47633 h 2079633"/>
                <a:gd name="connsiteX149" fmla="*/ 1296398 w 2124111"/>
                <a:gd name="connsiteY149" fmla="*/ 47633 h 2079633"/>
                <a:gd name="connsiteX150" fmla="*/ 1296398 w 2124111"/>
                <a:gd name="connsiteY150" fmla="*/ 47633 h 2079633"/>
                <a:gd name="connsiteX151" fmla="*/ 1296398 w 2124111"/>
                <a:gd name="connsiteY151" fmla="*/ 47633 h 2079633"/>
                <a:gd name="connsiteX152" fmla="*/ 1296398 w 2124111"/>
                <a:gd name="connsiteY152" fmla="*/ 47633 h 2079633"/>
                <a:gd name="connsiteX153" fmla="*/ 1296398 w 2124111"/>
                <a:gd name="connsiteY153" fmla="*/ 47633 h 2079633"/>
                <a:gd name="connsiteX154" fmla="*/ 1296398 w 2124111"/>
                <a:gd name="connsiteY154" fmla="*/ 47633 h 2079633"/>
                <a:gd name="connsiteX155" fmla="*/ 1296398 w 2124111"/>
                <a:gd name="connsiteY155" fmla="*/ 47633 h 2079633"/>
                <a:gd name="connsiteX156" fmla="*/ 1296398 w 2124111"/>
                <a:gd name="connsiteY156" fmla="*/ 47633 h 2079633"/>
                <a:gd name="connsiteX157" fmla="*/ 1296398 w 2124111"/>
                <a:gd name="connsiteY157" fmla="*/ 47633 h 2079633"/>
                <a:gd name="connsiteX158" fmla="*/ 1296398 w 2124111"/>
                <a:gd name="connsiteY158" fmla="*/ 47633 h 2079633"/>
                <a:gd name="connsiteX159" fmla="*/ 1296398 w 2124111"/>
                <a:gd name="connsiteY159" fmla="*/ 47633 h 2079633"/>
                <a:gd name="connsiteX160" fmla="*/ 1296398 w 2124111"/>
                <a:gd name="connsiteY160" fmla="*/ 47633 h 2079633"/>
                <a:gd name="connsiteX161" fmla="*/ 1296398 w 2124111"/>
                <a:gd name="connsiteY161" fmla="*/ 47783 h 2079783"/>
                <a:gd name="connsiteX162" fmla="*/ 1296398 w 2124111"/>
                <a:gd name="connsiteY162" fmla="*/ 25400 h 2057400"/>
                <a:gd name="connsiteX163" fmla="*/ 1296398 w 2124111"/>
                <a:gd name="connsiteY163" fmla="*/ 25400 h 2057400"/>
                <a:gd name="connsiteX164" fmla="*/ 1296398 w 2124111"/>
                <a:gd name="connsiteY164" fmla="*/ 25400 h 2057400"/>
                <a:gd name="connsiteX165" fmla="*/ 1296398 w 2124111"/>
                <a:gd name="connsiteY165" fmla="*/ 25400 h 205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E</a:t>
              </a:r>
            </a:p>
          </p:txBody>
        </p:sp>
        <p:sp>
          <p:nvSpPr>
            <p:cNvPr id="136" name="Freeform: Shape 329" descr="decorative: Freeform: Shape 329">
              <a:extLst>
                <a:ext uri="{FF2B5EF4-FFF2-40B4-BE49-F238E27FC236}">
                  <a16:creationId xmlns:a16="http://schemas.microsoft.com/office/drawing/2014/main" id="{3A91A6F2-1854-2057-B208-7BFED80826D4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  <a:gd name="connsiteX83" fmla="*/ 1036048 w 2150240"/>
                <a:gd name="connsiteY83" fmla="*/ 2388 h 2146167"/>
                <a:gd name="connsiteX84" fmla="*/ 1036048 w 2150240"/>
                <a:gd name="connsiteY84" fmla="*/ 2388 h 2146167"/>
                <a:gd name="connsiteX85" fmla="*/ 1036048 w 2150240"/>
                <a:gd name="connsiteY85" fmla="*/ 2388 h 2146167"/>
                <a:gd name="connsiteX86" fmla="*/ 1036048 w 2150240"/>
                <a:gd name="connsiteY86" fmla="*/ 2388 h 2146167"/>
                <a:gd name="connsiteX87" fmla="*/ 1096373 w 2150240"/>
                <a:gd name="connsiteY87" fmla="*/ 7845 h 2129399"/>
                <a:gd name="connsiteX88" fmla="*/ 1080498 w 2150240"/>
                <a:gd name="connsiteY88" fmla="*/ 6 h 2099335"/>
                <a:gd name="connsiteX89" fmla="*/ 1080498 w 2150240"/>
                <a:gd name="connsiteY89" fmla="*/ 6 h 2099335"/>
                <a:gd name="connsiteX90" fmla="*/ 1197973 w 2150240"/>
                <a:gd name="connsiteY90" fmla="*/ 35614 h 2100018"/>
                <a:gd name="connsiteX91" fmla="*/ 1197973 w 2150240"/>
                <a:gd name="connsiteY91" fmla="*/ 35614 h 2100018"/>
                <a:gd name="connsiteX92" fmla="*/ 1197973 w 2150240"/>
                <a:gd name="connsiteY92" fmla="*/ 35614 h 2100018"/>
                <a:gd name="connsiteX93" fmla="*/ 1197973 w 2150240"/>
                <a:gd name="connsiteY93" fmla="*/ 35614 h 2100018"/>
                <a:gd name="connsiteX94" fmla="*/ 1197973 w 2150240"/>
                <a:gd name="connsiteY94" fmla="*/ 35614 h 2089839"/>
                <a:gd name="connsiteX95" fmla="*/ 1197973 w 2150240"/>
                <a:gd name="connsiteY95" fmla="*/ 35614 h 2089839"/>
                <a:gd name="connsiteX96" fmla="*/ 1197973 w 2150240"/>
                <a:gd name="connsiteY96" fmla="*/ 35614 h 2089839"/>
                <a:gd name="connsiteX97" fmla="*/ 1197973 w 2150240"/>
                <a:gd name="connsiteY97" fmla="*/ 35614 h 2089839"/>
                <a:gd name="connsiteX98" fmla="*/ 1197973 w 2150240"/>
                <a:gd name="connsiteY98" fmla="*/ 35614 h 2089839"/>
                <a:gd name="connsiteX99" fmla="*/ 1197973 w 2150240"/>
                <a:gd name="connsiteY99" fmla="*/ 35614 h 2089839"/>
                <a:gd name="connsiteX100" fmla="*/ 1197973 w 2150240"/>
                <a:gd name="connsiteY100" fmla="*/ 35614 h 2089839"/>
                <a:gd name="connsiteX101" fmla="*/ 1197973 w 2150240"/>
                <a:gd name="connsiteY101" fmla="*/ 35614 h 2089839"/>
                <a:gd name="connsiteX102" fmla="*/ 1197973 w 2145038"/>
                <a:gd name="connsiteY102" fmla="*/ 35614 h 2089839"/>
                <a:gd name="connsiteX103" fmla="*/ 1197973 w 2145038"/>
                <a:gd name="connsiteY103" fmla="*/ 35614 h 2089839"/>
                <a:gd name="connsiteX104" fmla="*/ 1197973 w 2145038"/>
                <a:gd name="connsiteY104" fmla="*/ 35614 h 2089839"/>
                <a:gd name="connsiteX105" fmla="*/ 1197973 w 2145038"/>
                <a:gd name="connsiteY105" fmla="*/ 35614 h 2089839"/>
                <a:gd name="connsiteX106" fmla="*/ 1197973 w 2145038"/>
                <a:gd name="connsiteY106" fmla="*/ 35614 h 2089839"/>
                <a:gd name="connsiteX107" fmla="*/ 1197973 w 2145038"/>
                <a:gd name="connsiteY107" fmla="*/ 35614 h 2089839"/>
                <a:gd name="connsiteX108" fmla="*/ 1197973 w 2145038"/>
                <a:gd name="connsiteY108" fmla="*/ 35614 h 2089839"/>
                <a:gd name="connsiteX109" fmla="*/ 1197973 w 2145038"/>
                <a:gd name="connsiteY109" fmla="*/ 35614 h 2089839"/>
                <a:gd name="connsiteX110" fmla="*/ 1197973 w 2145038"/>
                <a:gd name="connsiteY110" fmla="*/ 35614 h 2089839"/>
                <a:gd name="connsiteX111" fmla="*/ 1197973 w 2145038"/>
                <a:gd name="connsiteY111" fmla="*/ 35614 h 2089839"/>
                <a:gd name="connsiteX112" fmla="*/ 1197973 w 2145038"/>
                <a:gd name="connsiteY112" fmla="*/ 35614 h 2089839"/>
                <a:gd name="connsiteX113" fmla="*/ 1197973 w 2145038"/>
                <a:gd name="connsiteY113" fmla="*/ 35614 h 2089839"/>
                <a:gd name="connsiteX114" fmla="*/ 1197973 w 2145038"/>
                <a:gd name="connsiteY114" fmla="*/ 35614 h 2089839"/>
                <a:gd name="connsiteX115" fmla="*/ 1197973 w 2145038"/>
                <a:gd name="connsiteY115" fmla="*/ 35614 h 2089839"/>
                <a:gd name="connsiteX116" fmla="*/ 1197973 w 2145038"/>
                <a:gd name="connsiteY116" fmla="*/ 35614 h 2089839"/>
                <a:gd name="connsiteX117" fmla="*/ 1197973 w 2145038"/>
                <a:gd name="connsiteY117" fmla="*/ 35614 h 2089839"/>
                <a:gd name="connsiteX118" fmla="*/ 1197973 w 2145038"/>
                <a:gd name="connsiteY118" fmla="*/ 35614 h 2089839"/>
                <a:gd name="connsiteX119" fmla="*/ 1197973 w 2145038"/>
                <a:gd name="connsiteY119" fmla="*/ 35614 h 2089839"/>
                <a:gd name="connsiteX120" fmla="*/ 1197973 w 2145038"/>
                <a:gd name="connsiteY120" fmla="*/ 35614 h 2089839"/>
                <a:gd name="connsiteX121" fmla="*/ 1197973 w 2145038"/>
                <a:gd name="connsiteY121" fmla="*/ 35614 h 2089839"/>
                <a:gd name="connsiteX122" fmla="*/ 1197973 w 2145038"/>
                <a:gd name="connsiteY122" fmla="*/ 35614 h 2089839"/>
                <a:gd name="connsiteX123" fmla="*/ 1197973 w 2145038"/>
                <a:gd name="connsiteY123" fmla="*/ 35614 h 2089839"/>
                <a:gd name="connsiteX124" fmla="*/ 1197973 w 2145038"/>
                <a:gd name="connsiteY124" fmla="*/ 35614 h 2089839"/>
                <a:gd name="connsiteX125" fmla="*/ 1197973 w 2145038"/>
                <a:gd name="connsiteY125" fmla="*/ 35614 h 2089839"/>
                <a:gd name="connsiteX126" fmla="*/ 1197973 w 2145038"/>
                <a:gd name="connsiteY126" fmla="*/ 35614 h 2089839"/>
                <a:gd name="connsiteX127" fmla="*/ 1197973 w 2145038"/>
                <a:gd name="connsiteY127" fmla="*/ 35614 h 2089839"/>
                <a:gd name="connsiteX128" fmla="*/ 1197973 w 2145038"/>
                <a:gd name="connsiteY128" fmla="*/ 35614 h 2089839"/>
                <a:gd name="connsiteX129" fmla="*/ 1197973 w 2145038"/>
                <a:gd name="connsiteY129" fmla="*/ 35614 h 2089839"/>
                <a:gd name="connsiteX130" fmla="*/ 1296398 w 2145038"/>
                <a:gd name="connsiteY130" fmla="*/ 47633 h 2079633"/>
                <a:gd name="connsiteX131" fmla="*/ 1296398 w 2145038"/>
                <a:gd name="connsiteY131" fmla="*/ 47633 h 2079633"/>
                <a:gd name="connsiteX132" fmla="*/ 1296398 w 2145038"/>
                <a:gd name="connsiteY132" fmla="*/ 47633 h 2079633"/>
                <a:gd name="connsiteX133" fmla="*/ 1296398 w 2145038"/>
                <a:gd name="connsiteY133" fmla="*/ 47633 h 2079633"/>
                <a:gd name="connsiteX134" fmla="*/ 1296398 w 2145038"/>
                <a:gd name="connsiteY134" fmla="*/ 47633 h 2079633"/>
                <a:gd name="connsiteX135" fmla="*/ 1296398 w 2145038"/>
                <a:gd name="connsiteY135" fmla="*/ 47633 h 2079633"/>
                <a:gd name="connsiteX136" fmla="*/ 1296398 w 2142482"/>
                <a:gd name="connsiteY136" fmla="*/ 47633 h 2079633"/>
                <a:gd name="connsiteX137" fmla="*/ 1296398 w 2127003"/>
                <a:gd name="connsiteY137" fmla="*/ 47633 h 2079633"/>
                <a:gd name="connsiteX138" fmla="*/ 1296398 w 2127003"/>
                <a:gd name="connsiteY138" fmla="*/ 47633 h 2079633"/>
                <a:gd name="connsiteX139" fmla="*/ 1296398 w 2127003"/>
                <a:gd name="connsiteY139" fmla="*/ 47633 h 2079633"/>
                <a:gd name="connsiteX140" fmla="*/ 1296398 w 2127003"/>
                <a:gd name="connsiteY140" fmla="*/ 47633 h 2079633"/>
                <a:gd name="connsiteX141" fmla="*/ 1296398 w 2127003"/>
                <a:gd name="connsiteY141" fmla="*/ 47633 h 2079633"/>
                <a:gd name="connsiteX142" fmla="*/ 1296398 w 2127003"/>
                <a:gd name="connsiteY142" fmla="*/ 47633 h 2079633"/>
                <a:gd name="connsiteX143" fmla="*/ 1296398 w 2122420"/>
                <a:gd name="connsiteY143" fmla="*/ 47633 h 2079633"/>
                <a:gd name="connsiteX144" fmla="*/ 1296398 w 2109198"/>
                <a:gd name="connsiteY144" fmla="*/ 47633 h 2079633"/>
                <a:gd name="connsiteX145" fmla="*/ 1296398 w 2119028"/>
                <a:gd name="connsiteY145" fmla="*/ 47633 h 2079633"/>
                <a:gd name="connsiteX146" fmla="*/ 1296398 w 2114197"/>
                <a:gd name="connsiteY146" fmla="*/ 47633 h 2079633"/>
                <a:gd name="connsiteX147" fmla="*/ 1296398 w 2124111"/>
                <a:gd name="connsiteY147" fmla="*/ 47633 h 2079633"/>
                <a:gd name="connsiteX148" fmla="*/ 1296398 w 2124111"/>
                <a:gd name="connsiteY148" fmla="*/ 47633 h 2079633"/>
                <a:gd name="connsiteX149" fmla="*/ 1296398 w 2124111"/>
                <a:gd name="connsiteY149" fmla="*/ 47633 h 2079633"/>
                <a:gd name="connsiteX150" fmla="*/ 1296398 w 2124111"/>
                <a:gd name="connsiteY150" fmla="*/ 47633 h 2079633"/>
                <a:gd name="connsiteX151" fmla="*/ 1296398 w 2124111"/>
                <a:gd name="connsiteY151" fmla="*/ 47633 h 2079633"/>
                <a:gd name="connsiteX152" fmla="*/ 1296398 w 2124111"/>
                <a:gd name="connsiteY152" fmla="*/ 47633 h 2079633"/>
                <a:gd name="connsiteX153" fmla="*/ 1296398 w 2124111"/>
                <a:gd name="connsiteY153" fmla="*/ 47633 h 2079633"/>
                <a:gd name="connsiteX154" fmla="*/ 1296398 w 2124111"/>
                <a:gd name="connsiteY154" fmla="*/ 47633 h 2079633"/>
                <a:gd name="connsiteX155" fmla="*/ 1296398 w 2124111"/>
                <a:gd name="connsiteY155" fmla="*/ 47633 h 2079633"/>
                <a:gd name="connsiteX156" fmla="*/ 1296398 w 2124111"/>
                <a:gd name="connsiteY156" fmla="*/ 47633 h 2079633"/>
                <a:gd name="connsiteX157" fmla="*/ 1296398 w 2124111"/>
                <a:gd name="connsiteY157" fmla="*/ 47633 h 2079633"/>
                <a:gd name="connsiteX158" fmla="*/ 1296398 w 2124111"/>
                <a:gd name="connsiteY158" fmla="*/ 47633 h 2079633"/>
                <a:gd name="connsiteX159" fmla="*/ 1296398 w 2124111"/>
                <a:gd name="connsiteY159" fmla="*/ 47633 h 2079633"/>
                <a:gd name="connsiteX160" fmla="*/ 1296398 w 2124111"/>
                <a:gd name="connsiteY160" fmla="*/ 47633 h 2079633"/>
                <a:gd name="connsiteX161" fmla="*/ 1296398 w 2124111"/>
                <a:gd name="connsiteY161" fmla="*/ 47783 h 2079783"/>
                <a:gd name="connsiteX162" fmla="*/ 1296398 w 2124111"/>
                <a:gd name="connsiteY162" fmla="*/ 25400 h 2057400"/>
                <a:gd name="connsiteX163" fmla="*/ 1296398 w 2124111"/>
                <a:gd name="connsiteY163" fmla="*/ 25400 h 2057400"/>
                <a:gd name="connsiteX164" fmla="*/ 1296398 w 2124111"/>
                <a:gd name="connsiteY164" fmla="*/ 25400 h 2057400"/>
                <a:gd name="connsiteX165" fmla="*/ 1296398 w 2124111"/>
                <a:gd name="connsiteY165" fmla="*/ 25400 h 205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</p:grpSp>
      <p:grpSp>
        <p:nvGrpSpPr>
          <p:cNvPr id="137" name="Group 331">
            <a:extLst>
              <a:ext uri="{FF2B5EF4-FFF2-40B4-BE49-F238E27FC236}">
                <a16:creationId xmlns:a16="http://schemas.microsoft.com/office/drawing/2014/main" id="{6BEB140F-0625-5A93-245E-6EC765A8B0AC}"/>
              </a:ext>
            </a:extLst>
          </p:cNvPr>
          <p:cNvGrpSpPr/>
          <p:nvPr/>
        </p:nvGrpSpPr>
        <p:grpSpPr>
          <a:xfrm>
            <a:off x="4859361" y="1595602"/>
            <a:ext cx="962976" cy="963400"/>
            <a:chOff x="3092692" y="-1631033"/>
            <a:chExt cx="2192906" cy="2193874"/>
          </a:xfrm>
        </p:grpSpPr>
        <p:sp>
          <p:nvSpPr>
            <p:cNvPr id="138" name="Freeform: Shape 326" descr="decorative: Freeform: Shape 326">
              <a:extLst>
                <a:ext uri="{FF2B5EF4-FFF2-40B4-BE49-F238E27FC236}">
                  <a16:creationId xmlns:a16="http://schemas.microsoft.com/office/drawing/2014/main" id="{2AFA97FD-7F08-4005-6003-66F49629A505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  <a:gd name="connsiteX49" fmla="*/ 2212865 w 4460800"/>
                <a:gd name="connsiteY49" fmla="*/ 12700 h 4429294"/>
                <a:gd name="connsiteX50" fmla="*/ 2208350 w 4456285"/>
                <a:gd name="connsiteY50" fmla="*/ 12700 h 4429294"/>
                <a:gd name="connsiteX51" fmla="*/ 2206542 w 4454477"/>
                <a:gd name="connsiteY51" fmla="*/ 12700 h 4429294"/>
                <a:gd name="connsiteX52" fmla="*/ 2251690 w 4499625"/>
                <a:gd name="connsiteY52" fmla="*/ 12700 h 4429294"/>
                <a:gd name="connsiteX53" fmla="*/ 2253444 w 4501379"/>
                <a:gd name="connsiteY53" fmla="*/ 12700 h 4429294"/>
                <a:gd name="connsiteX54" fmla="*/ 2253444 w 4501379"/>
                <a:gd name="connsiteY54" fmla="*/ 12700 h 4429294"/>
                <a:gd name="connsiteX55" fmla="*/ 2253444 w 4501379"/>
                <a:gd name="connsiteY55" fmla="*/ 12700 h 4429294"/>
                <a:gd name="connsiteX56" fmla="*/ 2253444 w 4501379"/>
                <a:gd name="connsiteY56" fmla="*/ 12700 h 4429294"/>
                <a:gd name="connsiteX57" fmla="*/ 2253444 w 4501379"/>
                <a:gd name="connsiteY57" fmla="*/ 12700 h 4429294"/>
                <a:gd name="connsiteX58" fmla="*/ 2253444 w 4501379"/>
                <a:gd name="connsiteY58" fmla="*/ 12700 h 4429294"/>
                <a:gd name="connsiteX59" fmla="*/ 2253444 w 4501379"/>
                <a:gd name="connsiteY59" fmla="*/ 12700 h 4429294"/>
                <a:gd name="connsiteX60" fmla="*/ 2253444 w 4501379"/>
                <a:gd name="connsiteY60" fmla="*/ 12700 h 4429294"/>
                <a:gd name="connsiteX61" fmla="*/ 2253444 w 4501379"/>
                <a:gd name="connsiteY61" fmla="*/ 12700 h 4429294"/>
                <a:gd name="connsiteX62" fmla="*/ 2253444 w 4501379"/>
                <a:gd name="connsiteY62" fmla="*/ 12700 h 4429294"/>
                <a:gd name="connsiteX63" fmla="*/ 2253444 w 4501379"/>
                <a:gd name="connsiteY63" fmla="*/ 12700 h 4429294"/>
                <a:gd name="connsiteX64" fmla="*/ 2253444 w 4501379"/>
                <a:gd name="connsiteY64" fmla="*/ 12700 h 4429294"/>
                <a:gd name="connsiteX65" fmla="*/ 2253444 w 4501379"/>
                <a:gd name="connsiteY65" fmla="*/ 12700 h 4429294"/>
                <a:gd name="connsiteX66" fmla="*/ 2253444 w 4501379"/>
                <a:gd name="connsiteY66" fmla="*/ 12700 h 4429294"/>
                <a:gd name="connsiteX67" fmla="*/ 2253444 w 4501379"/>
                <a:gd name="connsiteY67" fmla="*/ 12700 h 4429294"/>
                <a:gd name="connsiteX68" fmla="*/ 2145494 w 4501379"/>
                <a:gd name="connsiteY68" fmla="*/ 38100 h 4429294"/>
                <a:gd name="connsiteX69" fmla="*/ 2145494 w 4501379"/>
                <a:gd name="connsiteY69" fmla="*/ 38100 h 4429294"/>
                <a:gd name="connsiteX70" fmla="*/ 2145494 w 4501379"/>
                <a:gd name="connsiteY70" fmla="*/ 38100 h 4429294"/>
                <a:gd name="connsiteX71" fmla="*/ 2145494 w 4501379"/>
                <a:gd name="connsiteY71" fmla="*/ 38100 h 4429294"/>
                <a:gd name="connsiteX72" fmla="*/ 2145494 w 4501379"/>
                <a:gd name="connsiteY72" fmla="*/ 38100 h 4429294"/>
                <a:gd name="connsiteX73" fmla="*/ 2145494 w 4501379"/>
                <a:gd name="connsiteY73" fmla="*/ 38100 h 4429294"/>
                <a:gd name="connsiteX74" fmla="*/ 2145494 w 4501379"/>
                <a:gd name="connsiteY74" fmla="*/ 38100 h 4429294"/>
                <a:gd name="connsiteX75" fmla="*/ 2145494 w 4501379"/>
                <a:gd name="connsiteY75" fmla="*/ 38100 h 4429294"/>
                <a:gd name="connsiteX76" fmla="*/ 2145494 w 4501379"/>
                <a:gd name="connsiteY76" fmla="*/ 38100 h 4429294"/>
                <a:gd name="connsiteX77" fmla="*/ 2145494 w 4501379"/>
                <a:gd name="connsiteY77" fmla="*/ 38100 h 4429294"/>
                <a:gd name="connsiteX78" fmla="*/ 2145494 w 4501379"/>
                <a:gd name="connsiteY78" fmla="*/ 38100 h 4429294"/>
                <a:gd name="connsiteX79" fmla="*/ 2145494 w 4501379"/>
                <a:gd name="connsiteY79" fmla="*/ 38100 h 4429294"/>
                <a:gd name="connsiteX80" fmla="*/ 2145494 w 4501379"/>
                <a:gd name="connsiteY80" fmla="*/ 38100 h 4429294"/>
                <a:gd name="connsiteX81" fmla="*/ 2145494 w 4501379"/>
                <a:gd name="connsiteY81" fmla="*/ 38100 h 4429294"/>
                <a:gd name="connsiteX82" fmla="*/ 2145494 w 4501379"/>
                <a:gd name="connsiteY82" fmla="*/ 38100 h 4429294"/>
                <a:gd name="connsiteX83" fmla="*/ 2145494 w 4501379"/>
                <a:gd name="connsiteY83" fmla="*/ 38100 h 4429294"/>
                <a:gd name="connsiteX84" fmla="*/ 2145494 w 4501379"/>
                <a:gd name="connsiteY84" fmla="*/ 38100 h 4429294"/>
                <a:gd name="connsiteX85" fmla="*/ 2145494 w 4501379"/>
                <a:gd name="connsiteY85" fmla="*/ 38100 h 4429294"/>
                <a:gd name="connsiteX86" fmla="*/ 2145494 w 4501379"/>
                <a:gd name="connsiteY86" fmla="*/ 38100 h 4429294"/>
                <a:gd name="connsiteX87" fmla="*/ 2145494 w 4501379"/>
                <a:gd name="connsiteY87" fmla="*/ 38100 h 4429294"/>
                <a:gd name="connsiteX88" fmla="*/ 2145494 w 4501379"/>
                <a:gd name="connsiteY88" fmla="*/ 38100 h 4429294"/>
                <a:gd name="connsiteX89" fmla="*/ 2145494 w 4501379"/>
                <a:gd name="connsiteY89" fmla="*/ 38100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92" fmla="*/ 2374094 w 4501379"/>
                <a:gd name="connsiteY92" fmla="*/ 28575 h 4429225"/>
                <a:gd name="connsiteX93" fmla="*/ 2374094 w 4501379"/>
                <a:gd name="connsiteY93" fmla="*/ 28575 h 4429225"/>
                <a:gd name="connsiteX94" fmla="*/ 2374094 w 4501379"/>
                <a:gd name="connsiteY94" fmla="*/ 28575 h 4429225"/>
                <a:gd name="connsiteX95" fmla="*/ 2374094 w 4501379"/>
                <a:gd name="connsiteY95" fmla="*/ 28575 h 4429225"/>
                <a:gd name="connsiteX96" fmla="*/ 2392702 w 4519987"/>
                <a:gd name="connsiteY96" fmla="*/ 28575 h 4429225"/>
                <a:gd name="connsiteX97" fmla="*/ 2392702 w 4519987"/>
                <a:gd name="connsiteY97" fmla="*/ 28575 h 4429225"/>
                <a:gd name="connsiteX98" fmla="*/ 2392702 w 4519987"/>
                <a:gd name="connsiteY98" fmla="*/ 28575 h 4429225"/>
                <a:gd name="connsiteX99" fmla="*/ 2392702 w 4519987"/>
                <a:gd name="connsiteY99" fmla="*/ 28575 h 4429225"/>
                <a:gd name="connsiteX100" fmla="*/ 2392702 w 4519987"/>
                <a:gd name="connsiteY100" fmla="*/ 28575 h 4429225"/>
                <a:gd name="connsiteX101" fmla="*/ 2392702 w 4519987"/>
                <a:gd name="connsiteY101" fmla="*/ 28575 h 4429225"/>
                <a:gd name="connsiteX102" fmla="*/ 2392702 w 4519987"/>
                <a:gd name="connsiteY102" fmla="*/ 28575 h 4429225"/>
                <a:gd name="connsiteX103" fmla="*/ 2392702 w 4519987"/>
                <a:gd name="connsiteY103" fmla="*/ 28575 h 4429225"/>
                <a:gd name="connsiteX104" fmla="*/ 2392702 w 4519987"/>
                <a:gd name="connsiteY104" fmla="*/ 28575 h 4429225"/>
                <a:gd name="connsiteX105" fmla="*/ 2392702 w 4519987"/>
                <a:gd name="connsiteY105" fmla="*/ 28575 h 4429225"/>
                <a:gd name="connsiteX106" fmla="*/ 2392702 w 4519987"/>
                <a:gd name="connsiteY106" fmla="*/ 28575 h 4429225"/>
                <a:gd name="connsiteX107" fmla="*/ 2392702 w 4519987"/>
                <a:gd name="connsiteY107" fmla="*/ 28575 h 4429225"/>
                <a:gd name="connsiteX108" fmla="*/ 2392702 w 4519987"/>
                <a:gd name="connsiteY108" fmla="*/ 28575 h 4429225"/>
                <a:gd name="connsiteX109" fmla="*/ 2392702 w 4519987"/>
                <a:gd name="connsiteY109" fmla="*/ 28575 h 4429225"/>
                <a:gd name="connsiteX110" fmla="*/ 2392702 w 4519987"/>
                <a:gd name="connsiteY110" fmla="*/ 28575 h 4429225"/>
                <a:gd name="connsiteX111" fmla="*/ 2392702 w 4519987"/>
                <a:gd name="connsiteY111" fmla="*/ 28575 h 4429225"/>
                <a:gd name="connsiteX112" fmla="*/ 2392702 w 4519987"/>
                <a:gd name="connsiteY112" fmla="*/ 28575 h 4429225"/>
                <a:gd name="connsiteX113" fmla="*/ 2392702 w 4519987"/>
                <a:gd name="connsiteY113" fmla="*/ 28575 h 4429225"/>
                <a:gd name="connsiteX114" fmla="*/ 2392702 w 4519987"/>
                <a:gd name="connsiteY114" fmla="*/ 28575 h 4429225"/>
                <a:gd name="connsiteX115" fmla="*/ 2392702 w 4519987"/>
                <a:gd name="connsiteY115" fmla="*/ 28575 h 4429260"/>
                <a:gd name="connsiteX116" fmla="*/ 2392702 w 4519987"/>
                <a:gd name="connsiteY116" fmla="*/ 28575 h 4457700"/>
                <a:gd name="connsiteX117" fmla="*/ 2392702 w 4519987"/>
                <a:gd name="connsiteY117" fmla="*/ 28575 h 4476750"/>
                <a:gd name="connsiteX118" fmla="*/ 2392702 w 4519987"/>
                <a:gd name="connsiteY118" fmla="*/ 28575 h 4476750"/>
                <a:gd name="connsiteX119" fmla="*/ 2392702 w 4519987"/>
                <a:gd name="connsiteY119" fmla="*/ 28575 h 4487372"/>
                <a:gd name="connsiteX120" fmla="*/ 2392702 w 4519987"/>
                <a:gd name="connsiteY120" fmla="*/ 28575 h 4496940"/>
                <a:gd name="connsiteX121" fmla="*/ 2392702 w 4519987"/>
                <a:gd name="connsiteY121" fmla="*/ 28575 h 4496940"/>
                <a:gd name="connsiteX122" fmla="*/ 2392702 w 4519987"/>
                <a:gd name="connsiteY122" fmla="*/ 28575 h 4496940"/>
                <a:gd name="connsiteX123" fmla="*/ 2392702 w 4519987"/>
                <a:gd name="connsiteY123" fmla="*/ 28575 h 4496940"/>
                <a:gd name="connsiteX124" fmla="*/ 2392702 w 4519987"/>
                <a:gd name="connsiteY124" fmla="*/ 28575 h 4496940"/>
                <a:gd name="connsiteX125" fmla="*/ 2392702 w 4519987"/>
                <a:gd name="connsiteY125" fmla="*/ 28575 h 4496940"/>
                <a:gd name="connsiteX126" fmla="*/ 2392702 w 4519987"/>
                <a:gd name="connsiteY126" fmla="*/ 28575 h 4496940"/>
                <a:gd name="connsiteX127" fmla="*/ 2392702 w 4519987"/>
                <a:gd name="connsiteY127" fmla="*/ 28575 h 4496940"/>
                <a:gd name="connsiteX128" fmla="*/ 2392702 w 4519987"/>
                <a:gd name="connsiteY128" fmla="*/ 28575 h 4496940"/>
                <a:gd name="connsiteX129" fmla="*/ 2392702 w 4519987"/>
                <a:gd name="connsiteY129" fmla="*/ 28575 h 4496940"/>
                <a:gd name="connsiteX130" fmla="*/ 2392702 w 4519987"/>
                <a:gd name="connsiteY130" fmla="*/ 28575 h 4496940"/>
                <a:gd name="connsiteX131" fmla="*/ 2392702 w 4519987"/>
                <a:gd name="connsiteY131" fmla="*/ 28575 h 4496940"/>
                <a:gd name="connsiteX132" fmla="*/ 2392702 w 4519987"/>
                <a:gd name="connsiteY132" fmla="*/ 28575 h 4496940"/>
                <a:gd name="connsiteX133" fmla="*/ 2392702 w 4519987"/>
                <a:gd name="connsiteY133" fmla="*/ 28575 h 4496940"/>
                <a:gd name="connsiteX134" fmla="*/ 2392702 w 4519987"/>
                <a:gd name="connsiteY134" fmla="*/ 28575 h 4496940"/>
                <a:gd name="connsiteX135" fmla="*/ 2392702 w 4519987"/>
                <a:gd name="connsiteY135" fmla="*/ 28575 h 4496940"/>
                <a:gd name="connsiteX136" fmla="*/ 2392702 w 4519987"/>
                <a:gd name="connsiteY136" fmla="*/ 28575 h 4496940"/>
                <a:gd name="connsiteX137" fmla="*/ 2392702 w 4519987"/>
                <a:gd name="connsiteY137" fmla="*/ 28575 h 4496940"/>
                <a:gd name="connsiteX138" fmla="*/ 2392702 w 4519987"/>
                <a:gd name="connsiteY138" fmla="*/ 28575 h 4496940"/>
                <a:gd name="connsiteX139" fmla="*/ 2392702 w 4519987"/>
                <a:gd name="connsiteY139" fmla="*/ 28575 h 4496940"/>
                <a:gd name="connsiteX140" fmla="*/ 2392702 w 4519987"/>
                <a:gd name="connsiteY140" fmla="*/ 28575 h 4496940"/>
                <a:gd name="connsiteX141" fmla="*/ 2392702 w 4519987"/>
                <a:gd name="connsiteY141" fmla="*/ 28575 h 4496940"/>
                <a:gd name="connsiteX142" fmla="*/ 2392702 w 4519987"/>
                <a:gd name="connsiteY142" fmla="*/ 28575 h 4496940"/>
                <a:gd name="connsiteX143" fmla="*/ 2392702 w 4519987"/>
                <a:gd name="connsiteY143" fmla="*/ 28575 h 4496940"/>
                <a:gd name="connsiteX144" fmla="*/ 2392702 w 4519987"/>
                <a:gd name="connsiteY144" fmla="*/ 28575 h 4496940"/>
                <a:gd name="connsiteX145" fmla="*/ 2392702 w 4519987"/>
                <a:gd name="connsiteY145" fmla="*/ 28575 h 4496940"/>
                <a:gd name="connsiteX146" fmla="*/ 2392702 w 4519987"/>
                <a:gd name="connsiteY146" fmla="*/ 28575 h 4496940"/>
                <a:gd name="connsiteX147" fmla="*/ 2392702 w 4519987"/>
                <a:gd name="connsiteY147" fmla="*/ 28575 h 4496940"/>
                <a:gd name="connsiteX148" fmla="*/ 2392702 w 4519987"/>
                <a:gd name="connsiteY148" fmla="*/ 28575 h 4496940"/>
                <a:gd name="connsiteX149" fmla="*/ 2392702 w 4519987"/>
                <a:gd name="connsiteY149" fmla="*/ 28575 h 4496940"/>
                <a:gd name="connsiteX150" fmla="*/ 2392702 w 4519987"/>
                <a:gd name="connsiteY150" fmla="*/ 28575 h 4496940"/>
                <a:gd name="connsiteX151" fmla="*/ 2392702 w 4519987"/>
                <a:gd name="connsiteY151" fmla="*/ 28575 h 4496940"/>
                <a:gd name="connsiteX152" fmla="*/ 2392702 w 4519987"/>
                <a:gd name="connsiteY152" fmla="*/ 28575 h 4496940"/>
                <a:gd name="connsiteX153" fmla="*/ 2392702 w 4519987"/>
                <a:gd name="connsiteY153" fmla="*/ 28575 h 4496940"/>
                <a:gd name="connsiteX154" fmla="*/ 2392702 w 4519987"/>
                <a:gd name="connsiteY154" fmla="*/ 28575 h 4496940"/>
                <a:gd name="connsiteX155" fmla="*/ 2392702 w 4519987"/>
                <a:gd name="connsiteY155" fmla="*/ 28575 h 4496940"/>
                <a:gd name="connsiteX156" fmla="*/ 2392702 w 4519987"/>
                <a:gd name="connsiteY156" fmla="*/ 28575 h 4496940"/>
                <a:gd name="connsiteX157" fmla="*/ 2392702 w 4519987"/>
                <a:gd name="connsiteY157" fmla="*/ 28575 h 4496940"/>
                <a:gd name="connsiteX158" fmla="*/ 2392702 w 4519987"/>
                <a:gd name="connsiteY158" fmla="*/ 28575 h 4496940"/>
                <a:gd name="connsiteX159" fmla="*/ 2392702 w 4519987"/>
                <a:gd name="connsiteY159" fmla="*/ 28575 h 4496940"/>
                <a:gd name="connsiteX160" fmla="*/ 2392702 w 4519987"/>
                <a:gd name="connsiteY160" fmla="*/ 28575 h 4496940"/>
                <a:gd name="connsiteX161" fmla="*/ 2392702 w 4519987"/>
                <a:gd name="connsiteY161" fmla="*/ 28575 h 4496940"/>
                <a:gd name="connsiteX162" fmla="*/ 2392702 w 4519952"/>
                <a:gd name="connsiteY162" fmla="*/ 28575 h 4496940"/>
                <a:gd name="connsiteX163" fmla="*/ 2392702 w 4519952"/>
                <a:gd name="connsiteY163" fmla="*/ 28575 h 4496940"/>
                <a:gd name="connsiteX164" fmla="*/ 2392702 w 4469152"/>
                <a:gd name="connsiteY164" fmla="*/ 28575 h 4496940"/>
                <a:gd name="connsiteX165" fmla="*/ 2392702 w 4469152"/>
                <a:gd name="connsiteY165" fmla="*/ 28575 h 4496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rgbClr val="000000"/>
                  </a:solidFill>
                  <a:latin typeface="DM Sans 14p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000000"/>
                  </a:solidFill>
                  <a:latin typeface="DM Sans 14p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000000"/>
                  </a:solidFill>
                  <a:latin typeface="DM Sans 14p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000000"/>
                  </a:solidFill>
                  <a:latin typeface="DM Sans 14p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000000"/>
                  </a:solidFill>
                  <a:latin typeface="DM Sans 14p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000000"/>
                  </a:solidFill>
                  <a:latin typeface="DM Sans 14p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000000"/>
                  </a:solidFill>
                  <a:latin typeface="DM Sans 14p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000000"/>
                  </a:solidFill>
                  <a:latin typeface="DM Sans 14p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000000"/>
                  </a:solidFill>
                  <a:latin typeface="DM Sans 14p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39" name="Freeform: Shape 327" descr="decorative: Freeform: Shape 327">
              <a:extLst>
                <a:ext uri="{FF2B5EF4-FFF2-40B4-BE49-F238E27FC236}">
                  <a16:creationId xmlns:a16="http://schemas.microsoft.com/office/drawing/2014/main" id="{154630BE-6C84-8487-0979-3EF38AD3BC12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  <a:gd name="connsiteX49" fmla="*/ 2212865 w 4460800"/>
                <a:gd name="connsiteY49" fmla="*/ 12700 h 4429294"/>
                <a:gd name="connsiteX50" fmla="*/ 2208350 w 4456285"/>
                <a:gd name="connsiteY50" fmla="*/ 12700 h 4429294"/>
                <a:gd name="connsiteX51" fmla="*/ 2206542 w 4454477"/>
                <a:gd name="connsiteY51" fmla="*/ 12700 h 4429294"/>
                <a:gd name="connsiteX52" fmla="*/ 2251690 w 4499625"/>
                <a:gd name="connsiteY52" fmla="*/ 12700 h 4429294"/>
                <a:gd name="connsiteX53" fmla="*/ 2253444 w 4501379"/>
                <a:gd name="connsiteY53" fmla="*/ 12700 h 4429294"/>
                <a:gd name="connsiteX54" fmla="*/ 2253444 w 4501379"/>
                <a:gd name="connsiteY54" fmla="*/ 12700 h 4429294"/>
                <a:gd name="connsiteX55" fmla="*/ 2253444 w 4501379"/>
                <a:gd name="connsiteY55" fmla="*/ 12700 h 4429294"/>
                <a:gd name="connsiteX56" fmla="*/ 2253444 w 4501379"/>
                <a:gd name="connsiteY56" fmla="*/ 12700 h 4429294"/>
                <a:gd name="connsiteX57" fmla="*/ 2253444 w 4501379"/>
                <a:gd name="connsiteY57" fmla="*/ 12700 h 4429294"/>
                <a:gd name="connsiteX58" fmla="*/ 2253444 w 4501379"/>
                <a:gd name="connsiteY58" fmla="*/ 12700 h 4429294"/>
                <a:gd name="connsiteX59" fmla="*/ 2253444 w 4501379"/>
                <a:gd name="connsiteY59" fmla="*/ 12700 h 4429294"/>
                <a:gd name="connsiteX60" fmla="*/ 2253444 w 4501379"/>
                <a:gd name="connsiteY60" fmla="*/ 12700 h 4429294"/>
                <a:gd name="connsiteX61" fmla="*/ 2253444 w 4501379"/>
                <a:gd name="connsiteY61" fmla="*/ 12700 h 4429294"/>
                <a:gd name="connsiteX62" fmla="*/ 2253444 w 4501379"/>
                <a:gd name="connsiteY62" fmla="*/ 12700 h 4429294"/>
                <a:gd name="connsiteX63" fmla="*/ 2253444 w 4501379"/>
                <a:gd name="connsiteY63" fmla="*/ 12700 h 4429294"/>
                <a:gd name="connsiteX64" fmla="*/ 2253444 w 4501379"/>
                <a:gd name="connsiteY64" fmla="*/ 12700 h 4429294"/>
                <a:gd name="connsiteX65" fmla="*/ 2253444 w 4501379"/>
                <a:gd name="connsiteY65" fmla="*/ 12700 h 4429294"/>
                <a:gd name="connsiteX66" fmla="*/ 2253444 w 4501379"/>
                <a:gd name="connsiteY66" fmla="*/ 12700 h 4429294"/>
                <a:gd name="connsiteX67" fmla="*/ 2253444 w 4501379"/>
                <a:gd name="connsiteY67" fmla="*/ 12700 h 4429294"/>
                <a:gd name="connsiteX68" fmla="*/ 2145494 w 4501379"/>
                <a:gd name="connsiteY68" fmla="*/ 38100 h 4429294"/>
                <a:gd name="connsiteX69" fmla="*/ 2145494 w 4501379"/>
                <a:gd name="connsiteY69" fmla="*/ 38100 h 4429294"/>
                <a:gd name="connsiteX70" fmla="*/ 2145494 w 4501379"/>
                <a:gd name="connsiteY70" fmla="*/ 38100 h 4429294"/>
                <a:gd name="connsiteX71" fmla="*/ 2145494 w 4501379"/>
                <a:gd name="connsiteY71" fmla="*/ 38100 h 4429294"/>
                <a:gd name="connsiteX72" fmla="*/ 2145494 w 4501379"/>
                <a:gd name="connsiteY72" fmla="*/ 38100 h 4429294"/>
                <a:gd name="connsiteX73" fmla="*/ 2145494 w 4501379"/>
                <a:gd name="connsiteY73" fmla="*/ 38100 h 4429294"/>
                <a:gd name="connsiteX74" fmla="*/ 2145494 w 4501379"/>
                <a:gd name="connsiteY74" fmla="*/ 38100 h 4429294"/>
                <a:gd name="connsiteX75" fmla="*/ 2145494 w 4501379"/>
                <a:gd name="connsiteY75" fmla="*/ 38100 h 4429294"/>
                <a:gd name="connsiteX76" fmla="*/ 2145494 w 4501379"/>
                <a:gd name="connsiteY76" fmla="*/ 38100 h 4429294"/>
                <a:gd name="connsiteX77" fmla="*/ 2145494 w 4501379"/>
                <a:gd name="connsiteY77" fmla="*/ 38100 h 4429294"/>
                <a:gd name="connsiteX78" fmla="*/ 2145494 w 4501379"/>
                <a:gd name="connsiteY78" fmla="*/ 38100 h 4429294"/>
                <a:gd name="connsiteX79" fmla="*/ 2145494 w 4501379"/>
                <a:gd name="connsiteY79" fmla="*/ 38100 h 4429294"/>
                <a:gd name="connsiteX80" fmla="*/ 2145494 w 4501379"/>
                <a:gd name="connsiteY80" fmla="*/ 38100 h 4429294"/>
                <a:gd name="connsiteX81" fmla="*/ 2145494 w 4501379"/>
                <a:gd name="connsiteY81" fmla="*/ 38100 h 4429294"/>
                <a:gd name="connsiteX82" fmla="*/ 2145494 w 4501379"/>
                <a:gd name="connsiteY82" fmla="*/ 38100 h 4429294"/>
                <a:gd name="connsiteX83" fmla="*/ 2145494 w 4501379"/>
                <a:gd name="connsiteY83" fmla="*/ 38100 h 4429294"/>
                <a:gd name="connsiteX84" fmla="*/ 2145494 w 4501379"/>
                <a:gd name="connsiteY84" fmla="*/ 38100 h 4429294"/>
                <a:gd name="connsiteX85" fmla="*/ 2145494 w 4501379"/>
                <a:gd name="connsiteY85" fmla="*/ 38100 h 4429294"/>
                <a:gd name="connsiteX86" fmla="*/ 2145494 w 4501379"/>
                <a:gd name="connsiteY86" fmla="*/ 38100 h 4429294"/>
                <a:gd name="connsiteX87" fmla="*/ 2145494 w 4501379"/>
                <a:gd name="connsiteY87" fmla="*/ 38100 h 4429294"/>
                <a:gd name="connsiteX88" fmla="*/ 2145494 w 4501379"/>
                <a:gd name="connsiteY88" fmla="*/ 38100 h 4429294"/>
                <a:gd name="connsiteX89" fmla="*/ 2145494 w 4501379"/>
                <a:gd name="connsiteY89" fmla="*/ 38100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92" fmla="*/ 2374094 w 4501379"/>
                <a:gd name="connsiteY92" fmla="*/ 28575 h 4429225"/>
                <a:gd name="connsiteX93" fmla="*/ 2374094 w 4501379"/>
                <a:gd name="connsiteY93" fmla="*/ 28575 h 4429225"/>
                <a:gd name="connsiteX94" fmla="*/ 2374094 w 4501379"/>
                <a:gd name="connsiteY94" fmla="*/ 28575 h 4429225"/>
                <a:gd name="connsiteX95" fmla="*/ 2374094 w 4501379"/>
                <a:gd name="connsiteY95" fmla="*/ 28575 h 4429225"/>
                <a:gd name="connsiteX96" fmla="*/ 2392702 w 4519987"/>
                <a:gd name="connsiteY96" fmla="*/ 28575 h 4429225"/>
                <a:gd name="connsiteX97" fmla="*/ 2392702 w 4519987"/>
                <a:gd name="connsiteY97" fmla="*/ 28575 h 4429225"/>
                <a:gd name="connsiteX98" fmla="*/ 2392702 w 4519987"/>
                <a:gd name="connsiteY98" fmla="*/ 28575 h 4429225"/>
                <a:gd name="connsiteX99" fmla="*/ 2392702 w 4519987"/>
                <a:gd name="connsiteY99" fmla="*/ 28575 h 4429225"/>
                <a:gd name="connsiteX100" fmla="*/ 2392702 w 4519987"/>
                <a:gd name="connsiteY100" fmla="*/ 28575 h 4429225"/>
                <a:gd name="connsiteX101" fmla="*/ 2392702 w 4519987"/>
                <a:gd name="connsiteY101" fmla="*/ 28575 h 4429225"/>
                <a:gd name="connsiteX102" fmla="*/ 2392702 w 4519987"/>
                <a:gd name="connsiteY102" fmla="*/ 28575 h 4429225"/>
                <a:gd name="connsiteX103" fmla="*/ 2392702 w 4519987"/>
                <a:gd name="connsiteY103" fmla="*/ 28575 h 4429225"/>
                <a:gd name="connsiteX104" fmla="*/ 2392702 w 4519987"/>
                <a:gd name="connsiteY104" fmla="*/ 28575 h 4429225"/>
                <a:gd name="connsiteX105" fmla="*/ 2392702 w 4519987"/>
                <a:gd name="connsiteY105" fmla="*/ 28575 h 4429225"/>
                <a:gd name="connsiteX106" fmla="*/ 2392702 w 4519987"/>
                <a:gd name="connsiteY106" fmla="*/ 28575 h 4429225"/>
                <a:gd name="connsiteX107" fmla="*/ 2392702 w 4519987"/>
                <a:gd name="connsiteY107" fmla="*/ 28575 h 4429225"/>
                <a:gd name="connsiteX108" fmla="*/ 2392702 w 4519987"/>
                <a:gd name="connsiteY108" fmla="*/ 28575 h 4429225"/>
                <a:gd name="connsiteX109" fmla="*/ 2392702 w 4519987"/>
                <a:gd name="connsiteY109" fmla="*/ 28575 h 4429225"/>
                <a:gd name="connsiteX110" fmla="*/ 2392702 w 4519987"/>
                <a:gd name="connsiteY110" fmla="*/ 28575 h 4429225"/>
                <a:gd name="connsiteX111" fmla="*/ 2392702 w 4519987"/>
                <a:gd name="connsiteY111" fmla="*/ 28575 h 4429225"/>
                <a:gd name="connsiteX112" fmla="*/ 2392702 w 4519987"/>
                <a:gd name="connsiteY112" fmla="*/ 28575 h 4429225"/>
                <a:gd name="connsiteX113" fmla="*/ 2392702 w 4519987"/>
                <a:gd name="connsiteY113" fmla="*/ 28575 h 4429225"/>
                <a:gd name="connsiteX114" fmla="*/ 2392702 w 4519987"/>
                <a:gd name="connsiteY114" fmla="*/ 28575 h 4429225"/>
                <a:gd name="connsiteX115" fmla="*/ 2392702 w 4519987"/>
                <a:gd name="connsiteY115" fmla="*/ 28575 h 4429260"/>
                <a:gd name="connsiteX116" fmla="*/ 2392702 w 4519987"/>
                <a:gd name="connsiteY116" fmla="*/ 28575 h 4457700"/>
                <a:gd name="connsiteX117" fmla="*/ 2392702 w 4519987"/>
                <a:gd name="connsiteY117" fmla="*/ 28575 h 4476750"/>
                <a:gd name="connsiteX118" fmla="*/ 2392702 w 4519987"/>
                <a:gd name="connsiteY118" fmla="*/ 28575 h 4476750"/>
                <a:gd name="connsiteX119" fmla="*/ 2392702 w 4519987"/>
                <a:gd name="connsiteY119" fmla="*/ 28575 h 4487372"/>
                <a:gd name="connsiteX120" fmla="*/ 2392702 w 4519987"/>
                <a:gd name="connsiteY120" fmla="*/ 28575 h 4496940"/>
                <a:gd name="connsiteX121" fmla="*/ 2392702 w 4519987"/>
                <a:gd name="connsiteY121" fmla="*/ 28575 h 4496940"/>
                <a:gd name="connsiteX122" fmla="*/ 2392702 w 4519987"/>
                <a:gd name="connsiteY122" fmla="*/ 28575 h 4496940"/>
                <a:gd name="connsiteX123" fmla="*/ 2392702 w 4519987"/>
                <a:gd name="connsiteY123" fmla="*/ 28575 h 4496940"/>
                <a:gd name="connsiteX124" fmla="*/ 2392702 w 4519987"/>
                <a:gd name="connsiteY124" fmla="*/ 28575 h 4496940"/>
                <a:gd name="connsiteX125" fmla="*/ 2392702 w 4519987"/>
                <a:gd name="connsiteY125" fmla="*/ 28575 h 4496940"/>
                <a:gd name="connsiteX126" fmla="*/ 2392702 w 4519987"/>
                <a:gd name="connsiteY126" fmla="*/ 28575 h 4496940"/>
                <a:gd name="connsiteX127" fmla="*/ 2392702 w 4519987"/>
                <a:gd name="connsiteY127" fmla="*/ 28575 h 4496940"/>
                <a:gd name="connsiteX128" fmla="*/ 2392702 w 4519987"/>
                <a:gd name="connsiteY128" fmla="*/ 28575 h 4496940"/>
                <a:gd name="connsiteX129" fmla="*/ 2392702 w 4519987"/>
                <a:gd name="connsiteY129" fmla="*/ 28575 h 4496940"/>
                <a:gd name="connsiteX130" fmla="*/ 2392702 w 4519987"/>
                <a:gd name="connsiteY130" fmla="*/ 28575 h 4496940"/>
                <a:gd name="connsiteX131" fmla="*/ 2392702 w 4519987"/>
                <a:gd name="connsiteY131" fmla="*/ 28575 h 4496940"/>
                <a:gd name="connsiteX132" fmla="*/ 2392702 w 4519987"/>
                <a:gd name="connsiteY132" fmla="*/ 28575 h 4496940"/>
                <a:gd name="connsiteX133" fmla="*/ 2392702 w 4519987"/>
                <a:gd name="connsiteY133" fmla="*/ 28575 h 4496940"/>
                <a:gd name="connsiteX134" fmla="*/ 2392702 w 4519987"/>
                <a:gd name="connsiteY134" fmla="*/ 28575 h 4496940"/>
                <a:gd name="connsiteX135" fmla="*/ 2392702 w 4519987"/>
                <a:gd name="connsiteY135" fmla="*/ 28575 h 4496940"/>
                <a:gd name="connsiteX136" fmla="*/ 2392702 w 4519987"/>
                <a:gd name="connsiteY136" fmla="*/ 28575 h 4496940"/>
                <a:gd name="connsiteX137" fmla="*/ 2392702 w 4519987"/>
                <a:gd name="connsiteY137" fmla="*/ 28575 h 4496940"/>
                <a:gd name="connsiteX138" fmla="*/ 2392702 w 4519987"/>
                <a:gd name="connsiteY138" fmla="*/ 28575 h 4496940"/>
                <a:gd name="connsiteX139" fmla="*/ 2392702 w 4519987"/>
                <a:gd name="connsiteY139" fmla="*/ 28575 h 4496940"/>
                <a:gd name="connsiteX140" fmla="*/ 2392702 w 4519987"/>
                <a:gd name="connsiteY140" fmla="*/ 28575 h 4496940"/>
                <a:gd name="connsiteX141" fmla="*/ 2392702 w 4519987"/>
                <a:gd name="connsiteY141" fmla="*/ 28575 h 4496940"/>
                <a:gd name="connsiteX142" fmla="*/ 2392702 w 4519987"/>
                <a:gd name="connsiteY142" fmla="*/ 28575 h 4496940"/>
                <a:gd name="connsiteX143" fmla="*/ 2392702 w 4519987"/>
                <a:gd name="connsiteY143" fmla="*/ 28575 h 4496940"/>
                <a:gd name="connsiteX144" fmla="*/ 2392702 w 4519987"/>
                <a:gd name="connsiteY144" fmla="*/ 28575 h 4496940"/>
                <a:gd name="connsiteX145" fmla="*/ 2392702 w 4519987"/>
                <a:gd name="connsiteY145" fmla="*/ 28575 h 4496940"/>
                <a:gd name="connsiteX146" fmla="*/ 2392702 w 4519987"/>
                <a:gd name="connsiteY146" fmla="*/ 28575 h 4496940"/>
                <a:gd name="connsiteX147" fmla="*/ 2392702 w 4519987"/>
                <a:gd name="connsiteY147" fmla="*/ 28575 h 4496940"/>
                <a:gd name="connsiteX148" fmla="*/ 2392702 w 4519987"/>
                <a:gd name="connsiteY148" fmla="*/ 28575 h 4496940"/>
                <a:gd name="connsiteX149" fmla="*/ 2392702 w 4519987"/>
                <a:gd name="connsiteY149" fmla="*/ 28575 h 4496940"/>
                <a:gd name="connsiteX150" fmla="*/ 2392702 w 4519987"/>
                <a:gd name="connsiteY150" fmla="*/ 28575 h 4496940"/>
                <a:gd name="connsiteX151" fmla="*/ 2392702 w 4519987"/>
                <a:gd name="connsiteY151" fmla="*/ 28575 h 4496940"/>
                <a:gd name="connsiteX152" fmla="*/ 2392702 w 4519987"/>
                <a:gd name="connsiteY152" fmla="*/ 28575 h 4496940"/>
                <a:gd name="connsiteX153" fmla="*/ 2392702 w 4519987"/>
                <a:gd name="connsiteY153" fmla="*/ 28575 h 4496940"/>
                <a:gd name="connsiteX154" fmla="*/ 2392702 w 4519987"/>
                <a:gd name="connsiteY154" fmla="*/ 28575 h 4496940"/>
                <a:gd name="connsiteX155" fmla="*/ 2392702 w 4519987"/>
                <a:gd name="connsiteY155" fmla="*/ 28575 h 4496940"/>
                <a:gd name="connsiteX156" fmla="*/ 2392702 w 4519987"/>
                <a:gd name="connsiteY156" fmla="*/ 28575 h 4496940"/>
                <a:gd name="connsiteX157" fmla="*/ 2392702 w 4519987"/>
                <a:gd name="connsiteY157" fmla="*/ 28575 h 4496940"/>
                <a:gd name="connsiteX158" fmla="*/ 2392702 w 4519987"/>
                <a:gd name="connsiteY158" fmla="*/ 28575 h 4496940"/>
                <a:gd name="connsiteX159" fmla="*/ 2392702 w 4519987"/>
                <a:gd name="connsiteY159" fmla="*/ 28575 h 4496940"/>
                <a:gd name="connsiteX160" fmla="*/ 2392702 w 4519987"/>
                <a:gd name="connsiteY160" fmla="*/ 28575 h 4496940"/>
                <a:gd name="connsiteX161" fmla="*/ 2392702 w 4519987"/>
                <a:gd name="connsiteY161" fmla="*/ 28575 h 4496940"/>
                <a:gd name="connsiteX162" fmla="*/ 2392702 w 4519952"/>
                <a:gd name="connsiteY162" fmla="*/ 28575 h 4496940"/>
                <a:gd name="connsiteX163" fmla="*/ 2392702 w 4519952"/>
                <a:gd name="connsiteY163" fmla="*/ 28575 h 4496940"/>
                <a:gd name="connsiteX164" fmla="*/ 2392702 w 4469152"/>
                <a:gd name="connsiteY164" fmla="*/ 28575 h 4496940"/>
                <a:gd name="connsiteX165" fmla="*/ 2392702 w 4469152"/>
                <a:gd name="connsiteY165" fmla="*/ 28575 h 4496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3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S</a:t>
              </a:r>
            </a:p>
          </p:txBody>
        </p:sp>
      </p:grpSp>
      <p:grpSp>
        <p:nvGrpSpPr>
          <p:cNvPr id="140" name="Group 332">
            <a:extLst>
              <a:ext uri="{FF2B5EF4-FFF2-40B4-BE49-F238E27FC236}">
                <a16:creationId xmlns:a16="http://schemas.microsoft.com/office/drawing/2014/main" id="{032D9D63-311E-B92A-F0B8-24BE4B52C4DF}"/>
              </a:ext>
            </a:extLst>
          </p:cNvPr>
          <p:cNvGrpSpPr/>
          <p:nvPr/>
        </p:nvGrpSpPr>
        <p:grpSpPr>
          <a:xfrm rot="21410080">
            <a:off x="8012775" y="1603171"/>
            <a:ext cx="905270" cy="898990"/>
            <a:chOff x="8336051" y="3610471"/>
            <a:chExt cx="2227633" cy="2212181"/>
          </a:xfrm>
        </p:grpSpPr>
        <p:sp>
          <p:nvSpPr>
            <p:cNvPr id="141" name="Freeform: Shape 333" descr="decorative: Freeform: Shape 333">
              <a:extLst>
                <a:ext uri="{FF2B5EF4-FFF2-40B4-BE49-F238E27FC236}">
                  <a16:creationId xmlns:a16="http://schemas.microsoft.com/office/drawing/2014/main" id="{F94CD465-3D66-2A68-B638-9832F289627C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121" fmla="*/ 901023 w 2205948"/>
                <a:gd name="connsiteY121" fmla="*/ 425 h 2164296"/>
                <a:gd name="connsiteX122" fmla="*/ 901023 w 2205948"/>
                <a:gd name="connsiteY122" fmla="*/ 425 h 2164296"/>
                <a:gd name="connsiteX123" fmla="*/ 894534 w 2199459"/>
                <a:gd name="connsiteY123" fmla="*/ 425 h 2164296"/>
                <a:gd name="connsiteX124" fmla="*/ 894115 w 2199040"/>
                <a:gd name="connsiteY124" fmla="*/ 425 h 2164296"/>
                <a:gd name="connsiteX125" fmla="*/ 898385 w 2203310"/>
                <a:gd name="connsiteY125" fmla="*/ 425 h 2164296"/>
                <a:gd name="connsiteX126" fmla="*/ 893434 w 2198359"/>
                <a:gd name="connsiteY126" fmla="*/ 425 h 2164296"/>
                <a:gd name="connsiteX127" fmla="*/ 896058 w 2200983"/>
                <a:gd name="connsiteY127" fmla="*/ 425 h 2164296"/>
                <a:gd name="connsiteX128" fmla="*/ 878849 w 2183774"/>
                <a:gd name="connsiteY128" fmla="*/ 425 h 2164296"/>
                <a:gd name="connsiteX129" fmla="*/ 866775 w 2171700"/>
                <a:gd name="connsiteY129" fmla="*/ 425 h 2164296"/>
                <a:gd name="connsiteX130" fmla="*/ 866775 w 2171700"/>
                <a:gd name="connsiteY130" fmla="*/ 425 h 2164296"/>
                <a:gd name="connsiteX131" fmla="*/ 866775 w 2171700"/>
                <a:gd name="connsiteY131" fmla="*/ 425 h 2164296"/>
                <a:gd name="connsiteX132" fmla="*/ 866775 w 2171700"/>
                <a:gd name="connsiteY132" fmla="*/ 425 h 2164296"/>
                <a:gd name="connsiteX133" fmla="*/ 866775 w 2171700"/>
                <a:gd name="connsiteY133" fmla="*/ 425 h 2164296"/>
                <a:gd name="connsiteX134" fmla="*/ 866775 w 2171700"/>
                <a:gd name="connsiteY134" fmla="*/ 425 h 2164296"/>
                <a:gd name="connsiteX135" fmla="*/ 866775 w 2171700"/>
                <a:gd name="connsiteY135" fmla="*/ 425 h 2164296"/>
                <a:gd name="connsiteX136" fmla="*/ 866775 w 2171700"/>
                <a:gd name="connsiteY136" fmla="*/ 425 h 2164296"/>
                <a:gd name="connsiteX137" fmla="*/ 866775 w 2171700"/>
                <a:gd name="connsiteY137" fmla="*/ 425 h 2164296"/>
                <a:gd name="connsiteX138" fmla="*/ 866775 w 2171700"/>
                <a:gd name="connsiteY138" fmla="*/ 425 h 2164296"/>
                <a:gd name="connsiteX139" fmla="*/ 866775 w 2171700"/>
                <a:gd name="connsiteY139" fmla="*/ 425 h 2164296"/>
                <a:gd name="connsiteX140" fmla="*/ 866775 w 2171700"/>
                <a:gd name="connsiteY140" fmla="*/ 425 h 2164296"/>
                <a:gd name="connsiteX141" fmla="*/ 866775 w 2171700"/>
                <a:gd name="connsiteY141" fmla="*/ 425 h 2164296"/>
                <a:gd name="connsiteX142" fmla="*/ 866775 w 2171700"/>
                <a:gd name="connsiteY142" fmla="*/ 425 h 2164296"/>
                <a:gd name="connsiteX143" fmla="*/ 866775 w 2171700"/>
                <a:gd name="connsiteY143" fmla="*/ 425 h 2164296"/>
                <a:gd name="connsiteX144" fmla="*/ 866775 w 2171700"/>
                <a:gd name="connsiteY144" fmla="*/ 425 h 2164296"/>
                <a:gd name="connsiteX145" fmla="*/ 866775 w 2171700"/>
                <a:gd name="connsiteY145" fmla="*/ 425 h 2164296"/>
                <a:gd name="connsiteX146" fmla="*/ 866775 w 2171700"/>
                <a:gd name="connsiteY146" fmla="*/ 425 h 2164296"/>
                <a:gd name="connsiteX147" fmla="*/ 866775 w 2171700"/>
                <a:gd name="connsiteY147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3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G</a:t>
              </a:r>
            </a:p>
          </p:txBody>
        </p:sp>
        <p:sp>
          <p:nvSpPr>
            <p:cNvPr id="142" name="Freeform: Shape 334" descr="decorative: Freeform: Shape 334">
              <a:extLst>
                <a:ext uri="{FF2B5EF4-FFF2-40B4-BE49-F238E27FC236}">
                  <a16:creationId xmlns:a16="http://schemas.microsoft.com/office/drawing/2014/main" id="{268D87DD-AE6D-278F-7BC7-6347517708D8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121" fmla="*/ 901023 w 2205948"/>
                <a:gd name="connsiteY121" fmla="*/ 425 h 2164296"/>
                <a:gd name="connsiteX122" fmla="*/ 901023 w 2205948"/>
                <a:gd name="connsiteY122" fmla="*/ 425 h 2164296"/>
                <a:gd name="connsiteX123" fmla="*/ 894534 w 2199459"/>
                <a:gd name="connsiteY123" fmla="*/ 425 h 2164296"/>
                <a:gd name="connsiteX124" fmla="*/ 894115 w 2199040"/>
                <a:gd name="connsiteY124" fmla="*/ 425 h 2164296"/>
                <a:gd name="connsiteX125" fmla="*/ 898385 w 2203310"/>
                <a:gd name="connsiteY125" fmla="*/ 425 h 2164296"/>
                <a:gd name="connsiteX126" fmla="*/ 893434 w 2198359"/>
                <a:gd name="connsiteY126" fmla="*/ 425 h 2164296"/>
                <a:gd name="connsiteX127" fmla="*/ 896058 w 2200983"/>
                <a:gd name="connsiteY127" fmla="*/ 425 h 2164296"/>
                <a:gd name="connsiteX128" fmla="*/ 878849 w 2183774"/>
                <a:gd name="connsiteY128" fmla="*/ 425 h 2164296"/>
                <a:gd name="connsiteX129" fmla="*/ 866775 w 2171700"/>
                <a:gd name="connsiteY129" fmla="*/ 425 h 2164296"/>
                <a:gd name="connsiteX130" fmla="*/ 866775 w 2171700"/>
                <a:gd name="connsiteY130" fmla="*/ 425 h 2164296"/>
                <a:gd name="connsiteX131" fmla="*/ 866775 w 2171700"/>
                <a:gd name="connsiteY131" fmla="*/ 425 h 2164296"/>
                <a:gd name="connsiteX132" fmla="*/ 866775 w 2171700"/>
                <a:gd name="connsiteY132" fmla="*/ 425 h 2164296"/>
                <a:gd name="connsiteX133" fmla="*/ 866775 w 2171700"/>
                <a:gd name="connsiteY133" fmla="*/ 425 h 2164296"/>
                <a:gd name="connsiteX134" fmla="*/ 866775 w 2171700"/>
                <a:gd name="connsiteY134" fmla="*/ 425 h 2164296"/>
                <a:gd name="connsiteX135" fmla="*/ 866775 w 2171700"/>
                <a:gd name="connsiteY135" fmla="*/ 425 h 2164296"/>
                <a:gd name="connsiteX136" fmla="*/ 866775 w 2171700"/>
                <a:gd name="connsiteY136" fmla="*/ 425 h 2164296"/>
                <a:gd name="connsiteX137" fmla="*/ 866775 w 2171700"/>
                <a:gd name="connsiteY137" fmla="*/ 425 h 2164296"/>
                <a:gd name="connsiteX138" fmla="*/ 866775 w 2171700"/>
                <a:gd name="connsiteY138" fmla="*/ 425 h 2164296"/>
                <a:gd name="connsiteX139" fmla="*/ 866775 w 2171700"/>
                <a:gd name="connsiteY139" fmla="*/ 425 h 2164296"/>
                <a:gd name="connsiteX140" fmla="*/ 866775 w 2171700"/>
                <a:gd name="connsiteY140" fmla="*/ 425 h 2164296"/>
                <a:gd name="connsiteX141" fmla="*/ 866775 w 2171700"/>
                <a:gd name="connsiteY141" fmla="*/ 425 h 2164296"/>
                <a:gd name="connsiteX142" fmla="*/ 866775 w 2171700"/>
                <a:gd name="connsiteY142" fmla="*/ 425 h 2164296"/>
                <a:gd name="connsiteX143" fmla="*/ 866775 w 2171700"/>
                <a:gd name="connsiteY143" fmla="*/ 425 h 2164296"/>
                <a:gd name="connsiteX144" fmla="*/ 866775 w 2171700"/>
                <a:gd name="connsiteY144" fmla="*/ 425 h 2164296"/>
                <a:gd name="connsiteX145" fmla="*/ 866775 w 2171700"/>
                <a:gd name="connsiteY145" fmla="*/ 425 h 2164296"/>
                <a:gd name="connsiteX146" fmla="*/ 866775 w 2171700"/>
                <a:gd name="connsiteY146" fmla="*/ 425 h 2164296"/>
                <a:gd name="connsiteX147" fmla="*/ 866775 w 2171700"/>
                <a:gd name="connsiteY147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</p:grpSp>
      <p:cxnSp>
        <p:nvCxnSpPr>
          <p:cNvPr id="143" name="Straight Connector 69">
            <a:extLst>
              <a:ext uri="{FF2B5EF4-FFF2-40B4-BE49-F238E27FC236}">
                <a16:creationId xmlns:a16="http://schemas.microsoft.com/office/drawing/2014/main" id="{DED74FB6-6B2C-A609-7228-8DAA83FD38E3}"/>
              </a:ext>
            </a:extLst>
          </p:cNvPr>
          <p:cNvCxnSpPr/>
          <p:nvPr/>
        </p:nvCxnSpPr>
        <p:spPr>
          <a:xfrm flipH="1">
            <a:off x="7653086" y="1592912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4" name="Graphic 83">
            <a:extLst>
              <a:ext uri="{FF2B5EF4-FFF2-40B4-BE49-F238E27FC236}">
                <a16:creationId xmlns:a16="http://schemas.microsoft.com/office/drawing/2014/main" id="{27C462A0-A71A-1B3F-1698-F6997B8A60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5101" y="3314856"/>
            <a:ext cx="342922" cy="342922"/>
          </a:xfrm>
          <a:prstGeom prst="rect">
            <a:avLst/>
          </a:prstGeom>
        </p:spPr>
      </p:pic>
      <p:grpSp>
        <p:nvGrpSpPr>
          <p:cNvPr id="145" name="Group 84">
            <a:extLst>
              <a:ext uri="{FF2B5EF4-FFF2-40B4-BE49-F238E27FC236}">
                <a16:creationId xmlns:a16="http://schemas.microsoft.com/office/drawing/2014/main" id="{009AC836-FF0D-C328-FF05-E1B6C3ED9E6E}"/>
              </a:ext>
            </a:extLst>
          </p:cNvPr>
          <p:cNvGrpSpPr/>
          <p:nvPr/>
        </p:nvGrpSpPr>
        <p:grpSpPr>
          <a:xfrm>
            <a:off x="1994873" y="3802804"/>
            <a:ext cx="223379" cy="264909"/>
            <a:chOff x="-500362" y="3798874"/>
            <a:chExt cx="274718" cy="325790"/>
          </a:xfrm>
          <a:solidFill>
            <a:srgbClr val="B5CEBD"/>
          </a:solidFill>
        </p:grpSpPr>
        <p:sp>
          <p:nvSpPr>
            <p:cNvPr id="146" name="Freeform: Shape 85" descr="decorative: Freeform: Shape 85">
              <a:extLst>
                <a:ext uri="{FF2B5EF4-FFF2-40B4-BE49-F238E27FC236}">
                  <a16:creationId xmlns:a16="http://schemas.microsoft.com/office/drawing/2014/main" id="{C827ED46-C774-E16D-921E-1CF220492C90}"/>
                </a:ext>
              </a:extLst>
            </p:cNvPr>
            <p:cNvSpPr/>
            <p:nvPr/>
          </p:nvSpPr>
          <p:spPr>
            <a:xfrm>
              <a:off x="-453549" y="3882251"/>
              <a:ext cx="120405" cy="194715"/>
            </a:xfrm>
            <a:custGeom>
              <a:avLst/>
              <a:gdLst>
                <a:gd name="connsiteX0" fmla="*/ 68827 w 120405"/>
                <a:gd name="connsiteY0" fmla="*/ 142631 h 194715"/>
                <a:gd name="connsiteX1" fmla="*/ 76461 w 120405"/>
                <a:gd name="connsiteY1" fmla="*/ 130949 h 194715"/>
                <a:gd name="connsiteX2" fmla="*/ 81985 w 120405"/>
                <a:gd name="connsiteY2" fmla="*/ 118676 h 194715"/>
                <a:gd name="connsiteX3" fmla="*/ 69966 w 120405"/>
                <a:gd name="connsiteY3" fmla="*/ 117538 h 194715"/>
                <a:gd name="connsiteX4" fmla="*/ 56681 w 120405"/>
                <a:gd name="connsiteY4" fmla="*/ 118718 h 194715"/>
                <a:gd name="connsiteX5" fmla="*/ 61995 w 120405"/>
                <a:gd name="connsiteY5" fmla="*/ 104632 h 194715"/>
                <a:gd name="connsiteX6" fmla="*/ 67351 w 120405"/>
                <a:gd name="connsiteY6" fmla="*/ 91137 h 194715"/>
                <a:gd name="connsiteX7" fmla="*/ 72159 w 120405"/>
                <a:gd name="connsiteY7" fmla="*/ 77473 h 194715"/>
                <a:gd name="connsiteX8" fmla="*/ 76503 w 120405"/>
                <a:gd name="connsiteY8" fmla="*/ 63598 h 194715"/>
                <a:gd name="connsiteX9" fmla="*/ 81521 w 120405"/>
                <a:gd name="connsiteY9" fmla="*/ 49933 h 194715"/>
                <a:gd name="connsiteX10" fmla="*/ 85697 w 120405"/>
                <a:gd name="connsiteY10" fmla="*/ 36016 h 194715"/>
                <a:gd name="connsiteX11" fmla="*/ 88185 w 120405"/>
                <a:gd name="connsiteY11" fmla="*/ 35594 h 194715"/>
                <a:gd name="connsiteX12" fmla="*/ 91390 w 120405"/>
                <a:gd name="connsiteY12" fmla="*/ 47445 h 194715"/>
                <a:gd name="connsiteX13" fmla="*/ 94848 w 120405"/>
                <a:gd name="connsiteY13" fmla="*/ 59085 h 194715"/>
                <a:gd name="connsiteX14" fmla="*/ 98180 w 120405"/>
                <a:gd name="connsiteY14" fmla="*/ 70767 h 194715"/>
                <a:gd name="connsiteX15" fmla="*/ 103072 w 120405"/>
                <a:gd name="connsiteY15" fmla="*/ 82618 h 194715"/>
                <a:gd name="connsiteX16" fmla="*/ 109778 w 120405"/>
                <a:gd name="connsiteY16" fmla="*/ 71779 h 194715"/>
                <a:gd name="connsiteX17" fmla="*/ 114417 w 120405"/>
                <a:gd name="connsiteY17" fmla="*/ 60435 h 194715"/>
                <a:gd name="connsiteX18" fmla="*/ 120405 w 120405"/>
                <a:gd name="connsiteY18" fmla="*/ 50102 h 194715"/>
                <a:gd name="connsiteX19" fmla="*/ 117285 w 120405"/>
                <a:gd name="connsiteY19" fmla="*/ 37619 h 194715"/>
                <a:gd name="connsiteX20" fmla="*/ 112392 w 120405"/>
                <a:gd name="connsiteY20" fmla="*/ 25515 h 194715"/>
                <a:gd name="connsiteX21" fmla="*/ 108470 w 120405"/>
                <a:gd name="connsiteY21" fmla="*/ 13032 h 194715"/>
                <a:gd name="connsiteX22" fmla="*/ 103620 w 120405"/>
                <a:gd name="connsiteY22" fmla="*/ 422 h 194715"/>
                <a:gd name="connsiteX23" fmla="*/ 86456 w 120405"/>
                <a:gd name="connsiteY23" fmla="*/ 0 h 194715"/>
                <a:gd name="connsiteX24" fmla="*/ 69460 w 120405"/>
                <a:gd name="connsiteY24" fmla="*/ 633 h 194715"/>
                <a:gd name="connsiteX25" fmla="*/ 64230 w 120405"/>
                <a:gd name="connsiteY25" fmla="*/ 13580 h 194715"/>
                <a:gd name="connsiteX26" fmla="*/ 60941 w 120405"/>
                <a:gd name="connsiteY26" fmla="*/ 26907 h 194715"/>
                <a:gd name="connsiteX27" fmla="*/ 55079 w 120405"/>
                <a:gd name="connsiteY27" fmla="*/ 39306 h 194715"/>
                <a:gd name="connsiteX28" fmla="*/ 51663 w 120405"/>
                <a:gd name="connsiteY28" fmla="*/ 52590 h 194715"/>
                <a:gd name="connsiteX29" fmla="*/ 46391 w 120405"/>
                <a:gd name="connsiteY29" fmla="*/ 65200 h 194715"/>
                <a:gd name="connsiteX30" fmla="*/ 41457 w 120405"/>
                <a:gd name="connsiteY30" fmla="*/ 77937 h 194715"/>
                <a:gd name="connsiteX31" fmla="*/ 36607 w 120405"/>
                <a:gd name="connsiteY31" fmla="*/ 90715 h 194715"/>
                <a:gd name="connsiteX32" fmla="*/ 33275 w 120405"/>
                <a:gd name="connsiteY32" fmla="*/ 104042 h 194715"/>
                <a:gd name="connsiteX33" fmla="*/ 28045 w 120405"/>
                <a:gd name="connsiteY33" fmla="*/ 116652 h 194715"/>
                <a:gd name="connsiteX34" fmla="*/ 23195 w 120405"/>
                <a:gd name="connsiteY34" fmla="*/ 129430 h 194715"/>
                <a:gd name="connsiteX35" fmla="*/ 19315 w 120405"/>
                <a:gd name="connsiteY35" fmla="*/ 142546 h 194715"/>
                <a:gd name="connsiteX36" fmla="*/ 14676 w 120405"/>
                <a:gd name="connsiteY36" fmla="*/ 155409 h 194715"/>
                <a:gd name="connsiteX37" fmla="*/ 10290 w 120405"/>
                <a:gd name="connsiteY37" fmla="*/ 168357 h 194715"/>
                <a:gd name="connsiteX38" fmla="*/ 4133 w 120405"/>
                <a:gd name="connsiteY38" fmla="*/ 180713 h 194715"/>
                <a:gd name="connsiteX39" fmla="*/ 0 w 120405"/>
                <a:gd name="connsiteY39" fmla="*/ 194082 h 194715"/>
                <a:gd name="connsiteX40" fmla="*/ 15689 w 120405"/>
                <a:gd name="connsiteY40" fmla="*/ 193576 h 194715"/>
                <a:gd name="connsiteX41" fmla="*/ 31714 w 120405"/>
                <a:gd name="connsiteY41" fmla="*/ 194715 h 194715"/>
                <a:gd name="connsiteX42" fmla="*/ 36185 w 120405"/>
                <a:gd name="connsiteY42" fmla="*/ 181304 h 194715"/>
                <a:gd name="connsiteX43" fmla="*/ 39095 w 120405"/>
                <a:gd name="connsiteY43" fmla="*/ 168061 h 194715"/>
                <a:gd name="connsiteX44" fmla="*/ 44577 w 120405"/>
                <a:gd name="connsiteY44" fmla="*/ 155662 h 194715"/>
                <a:gd name="connsiteX45" fmla="*/ 49259 w 120405"/>
                <a:gd name="connsiteY45" fmla="*/ 143643 h 194715"/>
                <a:gd name="connsiteX46" fmla="*/ 68827 w 120405"/>
                <a:gd name="connsiteY46" fmla="*/ 142631 h 194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20405" h="194715">
                  <a:moveTo>
                    <a:pt x="68827" y="142631"/>
                  </a:moveTo>
                  <a:lnTo>
                    <a:pt x="76461" y="130949"/>
                  </a:lnTo>
                  <a:lnTo>
                    <a:pt x="81985" y="118676"/>
                  </a:lnTo>
                  <a:lnTo>
                    <a:pt x="69966" y="117538"/>
                  </a:lnTo>
                  <a:lnTo>
                    <a:pt x="56681" y="118718"/>
                  </a:lnTo>
                  <a:lnTo>
                    <a:pt x="61995" y="104632"/>
                  </a:lnTo>
                  <a:lnTo>
                    <a:pt x="67351" y="91137"/>
                  </a:lnTo>
                  <a:lnTo>
                    <a:pt x="72159" y="77473"/>
                  </a:lnTo>
                  <a:lnTo>
                    <a:pt x="76503" y="63598"/>
                  </a:lnTo>
                  <a:lnTo>
                    <a:pt x="81521" y="49933"/>
                  </a:lnTo>
                  <a:lnTo>
                    <a:pt x="85697" y="36016"/>
                  </a:lnTo>
                  <a:lnTo>
                    <a:pt x="88185" y="35594"/>
                  </a:lnTo>
                  <a:lnTo>
                    <a:pt x="91390" y="47445"/>
                  </a:lnTo>
                  <a:lnTo>
                    <a:pt x="94848" y="59085"/>
                  </a:lnTo>
                  <a:lnTo>
                    <a:pt x="98180" y="70767"/>
                  </a:lnTo>
                  <a:lnTo>
                    <a:pt x="103072" y="82618"/>
                  </a:lnTo>
                  <a:lnTo>
                    <a:pt x="109778" y="71779"/>
                  </a:lnTo>
                  <a:lnTo>
                    <a:pt x="114417" y="60435"/>
                  </a:lnTo>
                  <a:lnTo>
                    <a:pt x="120405" y="50102"/>
                  </a:lnTo>
                  <a:lnTo>
                    <a:pt x="117285" y="37619"/>
                  </a:lnTo>
                  <a:lnTo>
                    <a:pt x="112392" y="25515"/>
                  </a:lnTo>
                  <a:lnTo>
                    <a:pt x="108470" y="13032"/>
                  </a:lnTo>
                  <a:lnTo>
                    <a:pt x="103620" y="422"/>
                  </a:lnTo>
                  <a:lnTo>
                    <a:pt x="86456" y="0"/>
                  </a:lnTo>
                  <a:lnTo>
                    <a:pt x="69460" y="633"/>
                  </a:lnTo>
                  <a:lnTo>
                    <a:pt x="64230" y="13580"/>
                  </a:lnTo>
                  <a:lnTo>
                    <a:pt x="60941" y="26907"/>
                  </a:lnTo>
                  <a:lnTo>
                    <a:pt x="55079" y="39306"/>
                  </a:lnTo>
                  <a:lnTo>
                    <a:pt x="51663" y="52590"/>
                  </a:lnTo>
                  <a:lnTo>
                    <a:pt x="46391" y="65200"/>
                  </a:lnTo>
                  <a:lnTo>
                    <a:pt x="41457" y="77937"/>
                  </a:lnTo>
                  <a:lnTo>
                    <a:pt x="36607" y="90715"/>
                  </a:lnTo>
                  <a:lnTo>
                    <a:pt x="33275" y="104042"/>
                  </a:lnTo>
                  <a:lnTo>
                    <a:pt x="28045" y="116652"/>
                  </a:lnTo>
                  <a:lnTo>
                    <a:pt x="23195" y="129430"/>
                  </a:lnTo>
                  <a:lnTo>
                    <a:pt x="19315" y="142546"/>
                  </a:lnTo>
                  <a:lnTo>
                    <a:pt x="14676" y="155409"/>
                  </a:lnTo>
                  <a:lnTo>
                    <a:pt x="10290" y="168357"/>
                  </a:lnTo>
                  <a:lnTo>
                    <a:pt x="4133" y="180713"/>
                  </a:lnTo>
                  <a:lnTo>
                    <a:pt x="0" y="194082"/>
                  </a:lnTo>
                  <a:lnTo>
                    <a:pt x="15689" y="193576"/>
                  </a:lnTo>
                  <a:lnTo>
                    <a:pt x="31714" y="194715"/>
                  </a:lnTo>
                  <a:lnTo>
                    <a:pt x="36185" y="181304"/>
                  </a:lnTo>
                  <a:lnTo>
                    <a:pt x="39095" y="168061"/>
                  </a:lnTo>
                  <a:lnTo>
                    <a:pt x="44577" y="155662"/>
                  </a:lnTo>
                  <a:lnTo>
                    <a:pt x="49259" y="143643"/>
                  </a:lnTo>
                  <a:lnTo>
                    <a:pt x="68827" y="142631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47" name="Freeform: Shape 86" descr="decorative: Freeform: Shape 86">
              <a:extLst>
                <a:ext uri="{FF2B5EF4-FFF2-40B4-BE49-F238E27FC236}">
                  <a16:creationId xmlns:a16="http://schemas.microsoft.com/office/drawing/2014/main" id="{83F1E1B7-64DB-3CFA-722B-7D849161A831}"/>
                </a:ext>
              </a:extLst>
            </p:cNvPr>
            <p:cNvSpPr/>
            <p:nvPr/>
          </p:nvSpPr>
          <p:spPr>
            <a:xfrm>
              <a:off x="-500362" y="3798874"/>
              <a:ext cx="266114" cy="72707"/>
            </a:xfrm>
            <a:custGeom>
              <a:avLst/>
              <a:gdLst>
                <a:gd name="connsiteX0" fmla="*/ 0 w 266114"/>
                <a:gd name="connsiteY0" fmla="*/ 72707 h 72707"/>
                <a:gd name="connsiteX1" fmla="*/ 11513 w 266114"/>
                <a:gd name="connsiteY1" fmla="*/ 65833 h 72707"/>
                <a:gd name="connsiteX2" fmla="*/ 23533 w 266114"/>
                <a:gd name="connsiteY2" fmla="*/ 59844 h 72707"/>
                <a:gd name="connsiteX3" fmla="*/ 35805 w 266114"/>
                <a:gd name="connsiteY3" fmla="*/ 54362 h 72707"/>
                <a:gd name="connsiteX4" fmla="*/ 46897 w 266114"/>
                <a:gd name="connsiteY4" fmla="*/ 46686 h 72707"/>
                <a:gd name="connsiteX5" fmla="*/ 59254 w 266114"/>
                <a:gd name="connsiteY5" fmla="*/ 41372 h 72707"/>
                <a:gd name="connsiteX6" fmla="*/ 70261 w 266114"/>
                <a:gd name="connsiteY6" fmla="*/ 33612 h 72707"/>
                <a:gd name="connsiteX7" fmla="*/ 82154 w 266114"/>
                <a:gd name="connsiteY7" fmla="*/ 27413 h 72707"/>
                <a:gd name="connsiteX8" fmla="*/ 93752 w 266114"/>
                <a:gd name="connsiteY8" fmla="*/ 20665 h 72707"/>
                <a:gd name="connsiteX9" fmla="*/ 105349 w 266114"/>
                <a:gd name="connsiteY9" fmla="*/ 13917 h 72707"/>
                <a:gd name="connsiteX10" fmla="*/ 116694 w 266114"/>
                <a:gd name="connsiteY10" fmla="*/ 6706 h 72707"/>
                <a:gd name="connsiteX11" fmla="*/ 128882 w 266114"/>
                <a:gd name="connsiteY11" fmla="*/ 0 h 72707"/>
                <a:gd name="connsiteX12" fmla="*/ 141787 w 266114"/>
                <a:gd name="connsiteY12" fmla="*/ 6748 h 72707"/>
                <a:gd name="connsiteX13" fmla="*/ 153807 w 266114"/>
                <a:gd name="connsiteY13" fmla="*/ 14002 h 72707"/>
                <a:gd name="connsiteX14" fmla="*/ 166543 w 266114"/>
                <a:gd name="connsiteY14" fmla="*/ 19990 h 72707"/>
                <a:gd name="connsiteX15" fmla="*/ 178647 w 266114"/>
                <a:gd name="connsiteY15" fmla="*/ 27244 h 72707"/>
                <a:gd name="connsiteX16" fmla="*/ 190835 w 266114"/>
                <a:gd name="connsiteY16" fmla="*/ 34245 h 72707"/>
                <a:gd name="connsiteX17" fmla="*/ 203740 w 266114"/>
                <a:gd name="connsiteY17" fmla="*/ 39938 h 72707"/>
                <a:gd name="connsiteX18" fmla="*/ 215717 w 266114"/>
                <a:gd name="connsiteY18" fmla="*/ 47361 h 72707"/>
                <a:gd name="connsiteX19" fmla="*/ 228833 w 266114"/>
                <a:gd name="connsiteY19" fmla="*/ 52675 h 72707"/>
                <a:gd name="connsiteX20" fmla="*/ 240811 w 266114"/>
                <a:gd name="connsiteY20" fmla="*/ 60097 h 72707"/>
                <a:gd name="connsiteX21" fmla="*/ 253421 w 266114"/>
                <a:gd name="connsiteY21" fmla="*/ 66465 h 72707"/>
                <a:gd name="connsiteX22" fmla="*/ 266115 w 266114"/>
                <a:gd name="connsiteY22" fmla="*/ 72581 h 7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6114" h="72707">
                  <a:moveTo>
                    <a:pt x="0" y="72707"/>
                  </a:moveTo>
                  <a:lnTo>
                    <a:pt x="11513" y="65833"/>
                  </a:lnTo>
                  <a:lnTo>
                    <a:pt x="23533" y="59844"/>
                  </a:lnTo>
                  <a:lnTo>
                    <a:pt x="35805" y="54362"/>
                  </a:lnTo>
                  <a:lnTo>
                    <a:pt x="46897" y="46686"/>
                  </a:lnTo>
                  <a:lnTo>
                    <a:pt x="59254" y="41372"/>
                  </a:lnTo>
                  <a:lnTo>
                    <a:pt x="70261" y="33612"/>
                  </a:lnTo>
                  <a:lnTo>
                    <a:pt x="82154" y="27413"/>
                  </a:lnTo>
                  <a:lnTo>
                    <a:pt x="93752" y="20665"/>
                  </a:lnTo>
                  <a:lnTo>
                    <a:pt x="105349" y="13917"/>
                  </a:lnTo>
                  <a:lnTo>
                    <a:pt x="116694" y="6706"/>
                  </a:lnTo>
                  <a:lnTo>
                    <a:pt x="128882" y="0"/>
                  </a:lnTo>
                  <a:lnTo>
                    <a:pt x="141787" y="6748"/>
                  </a:lnTo>
                  <a:lnTo>
                    <a:pt x="153807" y="14002"/>
                  </a:lnTo>
                  <a:lnTo>
                    <a:pt x="166543" y="19990"/>
                  </a:lnTo>
                  <a:lnTo>
                    <a:pt x="178647" y="27244"/>
                  </a:lnTo>
                  <a:lnTo>
                    <a:pt x="190835" y="34245"/>
                  </a:lnTo>
                  <a:lnTo>
                    <a:pt x="203740" y="39938"/>
                  </a:lnTo>
                  <a:lnTo>
                    <a:pt x="215717" y="47361"/>
                  </a:lnTo>
                  <a:lnTo>
                    <a:pt x="228833" y="52675"/>
                  </a:lnTo>
                  <a:lnTo>
                    <a:pt x="240811" y="60097"/>
                  </a:lnTo>
                  <a:lnTo>
                    <a:pt x="253421" y="66465"/>
                  </a:lnTo>
                  <a:lnTo>
                    <a:pt x="266115" y="72581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48" name="Freeform: Shape 87" descr="decorative: Freeform: Shape 87">
              <a:extLst>
                <a:ext uri="{FF2B5EF4-FFF2-40B4-BE49-F238E27FC236}">
                  <a16:creationId xmlns:a16="http://schemas.microsoft.com/office/drawing/2014/main" id="{837F8727-9B1E-7419-734C-37A7E1831C2F}"/>
                </a:ext>
              </a:extLst>
            </p:cNvPr>
            <p:cNvSpPr/>
            <p:nvPr/>
          </p:nvSpPr>
          <p:spPr>
            <a:xfrm>
              <a:off x="-479782" y="3860870"/>
              <a:ext cx="53602" cy="263246"/>
            </a:xfrm>
            <a:custGeom>
              <a:avLst/>
              <a:gdLst>
                <a:gd name="connsiteX0" fmla="*/ 380 w 53602"/>
                <a:gd name="connsiteY0" fmla="*/ 0 h 263246"/>
                <a:gd name="connsiteX1" fmla="*/ 1434 w 53602"/>
                <a:gd name="connsiteY1" fmla="*/ 13833 h 263246"/>
                <a:gd name="connsiteX2" fmla="*/ 970 w 53602"/>
                <a:gd name="connsiteY2" fmla="*/ 27624 h 263246"/>
                <a:gd name="connsiteX3" fmla="*/ 42 w 53602"/>
                <a:gd name="connsiteY3" fmla="*/ 41414 h 263246"/>
                <a:gd name="connsiteX4" fmla="*/ 1181 w 53602"/>
                <a:gd name="connsiteY4" fmla="*/ 55247 h 263246"/>
                <a:gd name="connsiteX5" fmla="*/ 506 w 53602"/>
                <a:gd name="connsiteY5" fmla="*/ 69080 h 263246"/>
                <a:gd name="connsiteX6" fmla="*/ 0 w 53602"/>
                <a:gd name="connsiteY6" fmla="*/ 82871 h 263246"/>
                <a:gd name="connsiteX7" fmla="*/ 1307 w 53602"/>
                <a:gd name="connsiteY7" fmla="*/ 96704 h 263246"/>
                <a:gd name="connsiteX8" fmla="*/ 127 w 53602"/>
                <a:gd name="connsiteY8" fmla="*/ 110495 h 263246"/>
                <a:gd name="connsiteX9" fmla="*/ 84 w 53602"/>
                <a:gd name="connsiteY9" fmla="*/ 124327 h 263246"/>
                <a:gd name="connsiteX10" fmla="*/ 380 w 53602"/>
                <a:gd name="connsiteY10" fmla="*/ 138160 h 263246"/>
                <a:gd name="connsiteX11" fmla="*/ 675 w 53602"/>
                <a:gd name="connsiteY11" fmla="*/ 151993 h 263246"/>
                <a:gd name="connsiteX12" fmla="*/ 0 w 53602"/>
                <a:gd name="connsiteY12" fmla="*/ 165826 h 263246"/>
                <a:gd name="connsiteX13" fmla="*/ 1350 w 53602"/>
                <a:gd name="connsiteY13" fmla="*/ 179659 h 263246"/>
                <a:gd name="connsiteX14" fmla="*/ 1138 w 53602"/>
                <a:gd name="connsiteY14" fmla="*/ 193492 h 263246"/>
                <a:gd name="connsiteX15" fmla="*/ 1223 w 53602"/>
                <a:gd name="connsiteY15" fmla="*/ 207325 h 263246"/>
                <a:gd name="connsiteX16" fmla="*/ 506 w 53602"/>
                <a:gd name="connsiteY16" fmla="*/ 221158 h 263246"/>
                <a:gd name="connsiteX17" fmla="*/ 1560 w 53602"/>
                <a:gd name="connsiteY17" fmla="*/ 234991 h 263246"/>
                <a:gd name="connsiteX18" fmla="*/ 886 w 53602"/>
                <a:gd name="connsiteY18" fmla="*/ 248824 h 263246"/>
                <a:gd name="connsiteX19" fmla="*/ 1138 w 53602"/>
                <a:gd name="connsiteY19" fmla="*/ 262150 h 263246"/>
                <a:gd name="connsiteX20" fmla="*/ 13833 w 53602"/>
                <a:gd name="connsiteY20" fmla="*/ 262530 h 263246"/>
                <a:gd name="connsiteX21" fmla="*/ 27075 w 53602"/>
                <a:gd name="connsiteY21" fmla="*/ 261855 h 263246"/>
                <a:gd name="connsiteX22" fmla="*/ 40360 w 53602"/>
                <a:gd name="connsiteY22" fmla="*/ 263247 h 263246"/>
                <a:gd name="connsiteX23" fmla="*/ 53603 w 53602"/>
                <a:gd name="connsiteY23" fmla="*/ 262952 h 263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602" h="263246">
                  <a:moveTo>
                    <a:pt x="380" y="0"/>
                  </a:moveTo>
                  <a:lnTo>
                    <a:pt x="1434" y="13833"/>
                  </a:lnTo>
                  <a:lnTo>
                    <a:pt x="970" y="27624"/>
                  </a:lnTo>
                  <a:lnTo>
                    <a:pt x="42" y="41414"/>
                  </a:lnTo>
                  <a:lnTo>
                    <a:pt x="1181" y="55247"/>
                  </a:lnTo>
                  <a:lnTo>
                    <a:pt x="506" y="69080"/>
                  </a:lnTo>
                  <a:lnTo>
                    <a:pt x="0" y="82871"/>
                  </a:lnTo>
                  <a:lnTo>
                    <a:pt x="1307" y="96704"/>
                  </a:lnTo>
                  <a:lnTo>
                    <a:pt x="127" y="110495"/>
                  </a:lnTo>
                  <a:lnTo>
                    <a:pt x="84" y="124327"/>
                  </a:lnTo>
                  <a:lnTo>
                    <a:pt x="380" y="138160"/>
                  </a:lnTo>
                  <a:lnTo>
                    <a:pt x="675" y="151993"/>
                  </a:lnTo>
                  <a:lnTo>
                    <a:pt x="0" y="165826"/>
                  </a:lnTo>
                  <a:lnTo>
                    <a:pt x="1350" y="179659"/>
                  </a:lnTo>
                  <a:lnTo>
                    <a:pt x="1138" y="193492"/>
                  </a:lnTo>
                  <a:lnTo>
                    <a:pt x="1223" y="207325"/>
                  </a:lnTo>
                  <a:lnTo>
                    <a:pt x="506" y="221158"/>
                  </a:lnTo>
                  <a:lnTo>
                    <a:pt x="1560" y="234991"/>
                  </a:lnTo>
                  <a:lnTo>
                    <a:pt x="886" y="248824"/>
                  </a:lnTo>
                  <a:lnTo>
                    <a:pt x="1138" y="262150"/>
                  </a:lnTo>
                  <a:lnTo>
                    <a:pt x="13833" y="262530"/>
                  </a:lnTo>
                  <a:lnTo>
                    <a:pt x="27075" y="261855"/>
                  </a:lnTo>
                  <a:lnTo>
                    <a:pt x="40360" y="263247"/>
                  </a:lnTo>
                  <a:lnTo>
                    <a:pt x="53603" y="262952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49" name="Freeform: Shape 88" descr="decorative: Freeform: Shape 88">
              <a:extLst>
                <a:ext uri="{FF2B5EF4-FFF2-40B4-BE49-F238E27FC236}">
                  <a16:creationId xmlns:a16="http://schemas.microsoft.com/office/drawing/2014/main" id="{D5A516B7-F3AD-5392-E984-197CA5E9D671}"/>
                </a:ext>
              </a:extLst>
            </p:cNvPr>
            <p:cNvSpPr/>
            <p:nvPr/>
          </p:nvSpPr>
          <p:spPr>
            <a:xfrm>
              <a:off x="-298224" y="3915399"/>
              <a:ext cx="72580" cy="52421"/>
            </a:xfrm>
            <a:custGeom>
              <a:avLst/>
              <a:gdLst>
                <a:gd name="connsiteX0" fmla="*/ 72496 w 72580"/>
                <a:gd name="connsiteY0" fmla="*/ 0 h 52421"/>
                <a:gd name="connsiteX1" fmla="*/ 71231 w 72580"/>
                <a:gd name="connsiteY1" fmla="*/ 13411 h 52421"/>
                <a:gd name="connsiteX2" fmla="*/ 71105 w 72580"/>
                <a:gd name="connsiteY2" fmla="*/ 26148 h 52421"/>
                <a:gd name="connsiteX3" fmla="*/ 72454 w 72580"/>
                <a:gd name="connsiteY3" fmla="*/ 38926 h 52421"/>
                <a:gd name="connsiteX4" fmla="*/ 72581 w 72580"/>
                <a:gd name="connsiteY4" fmla="*/ 52422 h 52421"/>
                <a:gd name="connsiteX5" fmla="*/ 59085 w 72580"/>
                <a:gd name="connsiteY5" fmla="*/ 51873 h 52421"/>
                <a:gd name="connsiteX6" fmla="*/ 46349 w 72580"/>
                <a:gd name="connsiteY6" fmla="*/ 51916 h 52421"/>
                <a:gd name="connsiteX7" fmla="*/ 33570 w 72580"/>
                <a:gd name="connsiteY7" fmla="*/ 51620 h 52421"/>
                <a:gd name="connsiteX8" fmla="*/ 20749 w 72580"/>
                <a:gd name="connsiteY8" fmla="*/ 51789 h 52421"/>
                <a:gd name="connsiteX9" fmla="*/ 10122 w 72580"/>
                <a:gd name="connsiteY9" fmla="*/ 38968 h 52421"/>
                <a:gd name="connsiteX10" fmla="*/ 0 w 72580"/>
                <a:gd name="connsiteY10" fmla="*/ 26190 h 52421"/>
                <a:gd name="connsiteX11" fmla="*/ 9784 w 72580"/>
                <a:gd name="connsiteY11" fmla="*/ 13116 h 52421"/>
                <a:gd name="connsiteX12" fmla="*/ 21129 w 72580"/>
                <a:gd name="connsiteY12" fmla="*/ 1307 h 52421"/>
                <a:gd name="connsiteX13" fmla="*/ 33528 w 72580"/>
                <a:gd name="connsiteY13" fmla="*/ 1012 h 52421"/>
                <a:gd name="connsiteX14" fmla="*/ 46307 w 72580"/>
                <a:gd name="connsiteY14" fmla="*/ 928 h 52421"/>
                <a:gd name="connsiteX15" fmla="*/ 59085 w 72580"/>
                <a:gd name="connsiteY15" fmla="*/ 928 h 52421"/>
                <a:gd name="connsiteX16" fmla="*/ 72496 w 72580"/>
                <a:gd name="connsiteY16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580" h="52421">
                  <a:moveTo>
                    <a:pt x="72496" y="0"/>
                  </a:moveTo>
                  <a:lnTo>
                    <a:pt x="71231" y="13411"/>
                  </a:lnTo>
                  <a:lnTo>
                    <a:pt x="71105" y="26148"/>
                  </a:lnTo>
                  <a:lnTo>
                    <a:pt x="72454" y="38926"/>
                  </a:lnTo>
                  <a:lnTo>
                    <a:pt x="72581" y="52422"/>
                  </a:lnTo>
                  <a:lnTo>
                    <a:pt x="59085" y="51873"/>
                  </a:lnTo>
                  <a:lnTo>
                    <a:pt x="46349" y="51916"/>
                  </a:lnTo>
                  <a:lnTo>
                    <a:pt x="33570" y="51620"/>
                  </a:lnTo>
                  <a:lnTo>
                    <a:pt x="20749" y="51789"/>
                  </a:lnTo>
                  <a:lnTo>
                    <a:pt x="10122" y="38968"/>
                  </a:lnTo>
                  <a:lnTo>
                    <a:pt x="0" y="26190"/>
                  </a:lnTo>
                  <a:lnTo>
                    <a:pt x="9784" y="13116"/>
                  </a:lnTo>
                  <a:lnTo>
                    <a:pt x="21129" y="1307"/>
                  </a:lnTo>
                  <a:lnTo>
                    <a:pt x="33528" y="1012"/>
                  </a:lnTo>
                  <a:lnTo>
                    <a:pt x="46307" y="928"/>
                  </a:lnTo>
                  <a:lnTo>
                    <a:pt x="59085" y="928"/>
                  </a:lnTo>
                  <a:lnTo>
                    <a:pt x="72496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50" name="Freeform: Shape 89" descr="decorative: Freeform: Shape 89">
              <a:extLst>
                <a:ext uri="{FF2B5EF4-FFF2-40B4-BE49-F238E27FC236}">
                  <a16:creationId xmlns:a16="http://schemas.microsoft.com/office/drawing/2014/main" id="{2C119032-101D-B822-8AD3-2119EF4913C8}"/>
                </a:ext>
              </a:extLst>
            </p:cNvPr>
            <p:cNvSpPr/>
            <p:nvPr/>
          </p:nvSpPr>
          <p:spPr>
            <a:xfrm>
              <a:off x="-344362" y="3993885"/>
              <a:ext cx="118634" cy="52421"/>
            </a:xfrm>
            <a:custGeom>
              <a:avLst/>
              <a:gdLst>
                <a:gd name="connsiteX0" fmla="*/ 118423 w 118634"/>
                <a:gd name="connsiteY0" fmla="*/ 0 h 52421"/>
                <a:gd name="connsiteX1" fmla="*/ 117748 w 118634"/>
                <a:gd name="connsiteY1" fmla="*/ 13242 h 52421"/>
                <a:gd name="connsiteX2" fmla="*/ 118550 w 118634"/>
                <a:gd name="connsiteY2" fmla="*/ 26021 h 52421"/>
                <a:gd name="connsiteX3" fmla="*/ 118086 w 118634"/>
                <a:gd name="connsiteY3" fmla="*/ 38757 h 52421"/>
                <a:gd name="connsiteX4" fmla="*/ 118634 w 118634"/>
                <a:gd name="connsiteY4" fmla="*/ 52253 h 52421"/>
                <a:gd name="connsiteX5" fmla="*/ 104253 w 118634"/>
                <a:gd name="connsiteY5" fmla="*/ 51578 h 52421"/>
                <a:gd name="connsiteX6" fmla="*/ 90589 w 118634"/>
                <a:gd name="connsiteY6" fmla="*/ 51789 h 52421"/>
                <a:gd name="connsiteX7" fmla="*/ 76882 w 118634"/>
                <a:gd name="connsiteY7" fmla="*/ 51705 h 52421"/>
                <a:gd name="connsiteX8" fmla="*/ 63176 w 118634"/>
                <a:gd name="connsiteY8" fmla="*/ 51452 h 52421"/>
                <a:gd name="connsiteX9" fmla="*/ 49470 w 118634"/>
                <a:gd name="connsiteY9" fmla="*/ 51873 h 52421"/>
                <a:gd name="connsiteX10" fmla="*/ 35763 w 118634"/>
                <a:gd name="connsiteY10" fmla="*/ 51663 h 52421"/>
                <a:gd name="connsiteX11" fmla="*/ 21551 w 118634"/>
                <a:gd name="connsiteY11" fmla="*/ 52422 h 52421"/>
                <a:gd name="connsiteX12" fmla="*/ 10965 w 118634"/>
                <a:gd name="connsiteY12" fmla="*/ 39137 h 52421"/>
                <a:gd name="connsiteX13" fmla="*/ 0 w 118634"/>
                <a:gd name="connsiteY13" fmla="*/ 26021 h 52421"/>
                <a:gd name="connsiteX14" fmla="*/ 12104 w 118634"/>
                <a:gd name="connsiteY14" fmla="*/ 13875 h 52421"/>
                <a:gd name="connsiteX15" fmla="*/ 22394 w 118634"/>
                <a:gd name="connsiteY15" fmla="*/ 1223 h 52421"/>
                <a:gd name="connsiteX16" fmla="*/ 35721 w 118634"/>
                <a:gd name="connsiteY16" fmla="*/ 337 h 52421"/>
                <a:gd name="connsiteX17" fmla="*/ 49427 w 118634"/>
                <a:gd name="connsiteY17" fmla="*/ 970 h 52421"/>
                <a:gd name="connsiteX18" fmla="*/ 63092 w 118634"/>
                <a:gd name="connsiteY18" fmla="*/ 1476 h 52421"/>
                <a:gd name="connsiteX19" fmla="*/ 76798 w 118634"/>
                <a:gd name="connsiteY19" fmla="*/ 1012 h 52421"/>
                <a:gd name="connsiteX20" fmla="*/ 90504 w 118634"/>
                <a:gd name="connsiteY20" fmla="*/ 970 h 52421"/>
                <a:gd name="connsiteX21" fmla="*/ 104253 w 118634"/>
                <a:gd name="connsiteY21" fmla="*/ 127 h 52421"/>
                <a:gd name="connsiteX22" fmla="*/ 118423 w 118634"/>
                <a:gd name="connsiteY22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634" h="52421">
                  <a:moveTo>
                    <a:pt x="118423" y="0"/>
                  </a:moveTo>
                  <a:lnTo>
                    <a:pt x="117748" y="13242"/>
                  </a:lnTo>
                  <a:lnTo>
                    <a:pt x="118550" y="26021"/>
                  </a:lnTo>
                  <a:lnTo>
                    <a:pt x="118086" y="38757"/>
                  </a:lnTo>
                  <a:lnTo>
                    <a:pt x="118634" y="52253"/>
                  </a:lnTo>
                  <a:lnTo>
                    <a:pt x="104253" y="51578"/>
                  </a:lnTo>
                  <a:lnTo>
                    <a:pt x="90589" y="51789"/>
                  </a:lnTo>
                  <a:lnTo>
                    <a:pt x="76882" y="51705"/>
                  </a:lnTo>
                  <a:lnTo>
                    <a:pt x="63176" y="51452"/>
                  </a:lnTo>
                  <a:lnTo>
                    <a:pt x="49470" y="51873"/>
                  </a:lnTo>
                  <a:lnTo>
                    <a:pt x="35763" y="51663"/>
                  </a:lnTo>
                  <a:lnTo>
                    <a:pt x="21551" y="52422"/>
                  </a:lnTo>
                  <a:lnTo>
                    <a:pt x="10965" y="39137"/>
                  </a:lnTo>
                  <a:lnTo>
                    <a:pt x="0" y="26021"/>
                  </a:lnTo>
                  <a:lnTo>
                    <a:pt x="12104" y="13875"/>
                  </a:lnTo>
                  <a:lnTo>
                    <a:pt x="22394" y="1223"/>
                  </a:lnTo>
                  <a:lnTo>
                    <a:pt x="35721" y="337"/>
                  </a:lnTo>
                  <a:lnTo>
                    <a:pt x="49427" y="970"/>
                  </a:lnTo>
                  <a:lnTo>
                    <a:pt x="63092" y="1476"/>
                  </a:lnTo>
                  <a:lnTo>
                    <a:pt x="76798" y="1012"/>
                  </a:lnTo>
                  <a:lnTo>
                    <a:pt x="90504" y="970"/>
                  </a:lnTo>
                  <a:lnTo>
                    <a:pt x="104253" y="127"/>
                  </a:lnTo>
                  <a:lnTo>
                    <a:pt x="118423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51" name="Freeform: Shape 90" descr="decorative: Freeform: Shape 90">
              <a:extLst>
                <a:ext uri="{FF2B5EF4-FFF2-40B4-BE49-F238E27FC236}">
                  <a16:creationId xmlns:a16="http://schemas.microsoft.com/office/drawing/2014/main" id="{E697EAA6-02EA-9E80-5984-BFE3DDDBAA26}"/>
                </a:ext>
              </a:extLst>
            </p:cNvPr>
            <p:cNvSpPr/>
            <p:nvPr/>
          </p:nvSpPr>
          <p:spPr>
            <a:xfrm>
              <a:off x="-398767" y="4071737"/>
              <a:ext cx="173080" cy="52927"/>
            </a:xfrm>
            <a:custGeom>
              <a:avLst/>
              <a:gdLst>
                <a:gd name="connsiteX0" fmla="*/ 172532 w 173080"/>
                <a:gd name="connsiteY0" fmla="*/ 843 h 52927"/>
                <a:gd name="connsiteX1" fmla="*/ 172743 w 173080"/>
                <a:gd name="connsiteY1" fmla="*/ 13749 h 52927"/>
                <a:gd name="connsiteX2" fmla="*/ 172068 w 173080"/>
                <a:gd name="connsiteY2" fmla="*/ 26485 h 52927"/>
                <a:gd name="connsiteX3" fmla="*/ 171646 w 173080"/>
                <a:gd name="connsiteY3" fmla="*/ 39264 h 52927"/>
                <a:gd name="connsiteX4" fmla="*/ 173080 w 173080"/>
                <a:gd name="connsiteY4" fmla="*/ 52759 h 52927"/>
                <a:gd name="connsiteX5" fmla="*/ 158657 w 173080"/>
                <a:gd name="connsiteY5" fmla="*/ 52126 h 52927"/>
                <a:gd name="connsiteX6" fmla="*/ 144993 w 173080"/>
                <a:gd name="connsiteY6" fmla="*/ 51620 h 52927"/>
                <a:gd name="connsiteX7" fmla="*/ 131286 w 173080"/>
                <a:gd name="connsiteY7" fmla="*/ 52928 h 52927"/>
                <a:gd name="connsiteX8" fmla="*/ 117538 w 173080"/>
                <a:gd name="connsiteY8" fmla="*/ 51325 h 52927"/>
                <a:gd name="connsiteX9" fmla="*/ 103831 w 173080"/>
                <a:gd name="connsiteY9" fmla="*/ 52211 h 52927"/>
                <a:gd name="connsiteX10" fmla="*/ 90167 w 173080"/>
                <a:gd name="connsiteY10" fmla="*/ 52000 h 52927"/>
                <a:gd name="connsiteX11" fmla="*/ 76418 w 173080"/>
                <a:gd name="connsiteY11" fmla="*/ 52633 h 52927"/>
                <a:gd name="connsiteX12" fmla="*/ 62712 w 173080"/>
                <a:gd name="connsiteY12" fmla="*/ 51325 h 52927"/>
                <a:gd name="connsiteX13" fmla="*/ 49006 w 173080"/>
                <a:gd name="connsiteY13" fmla="*/ 51283 h 52927"/>
                <a:gd name="connsiteX14" fmla="*/ 35257 w 173080"/>
                <a:gd name="connsiteY14" fmla="*/ 52506 h 52927"/>
                <a:gd name="connsiteX15" fmla="*/ 21846 w 173080"/>
                <a:gd name="connsiteY15" fmla="*/ 51452 h 52927"/>
                <a:gd name="connsiteX16" fmla="*/ 10839 w 173080"/>
                <a:gd name="connsiteY16" fmla="*/ 39306 h 52927"/>
                <a:gd name="connsiteX17" fmla="*/ 0 w 173080"/>
                <a:gd name="connsiteY17" fmla="*/ 26527 h 52927"/>
                <a:gd name="connsiteX18" fmla="*/ 11345 w 173080"/>
                <a:gd name="connsiteY18" fmla="*/ 14128 h 52927"/>
                <a:gd name="connsiteX19" fmla="*/ 21804 w 173080"/>
                <a:gd name="connsiteY19" fmla="*/ 1518 h 52927"/>
                <a:gd name="connsiteX20" fmla="*/ 35257 w 173080"/>
                <a:gd name="connsiteY20" fmla="*/ 717 h 52927"/>
                <a:gd name="connsiteX21" fmla="*/ 48921 w 173080"/>
                <a:gd name="connsiteY21" fmla="*/ 1898 h 52927"/>
                <a:gd name="connsiteX22" fmla="*/ 62628 w 173080"/>
                <a:gd name="connsiteY22" fmla="*/ 1518 h 52927"/>
                <a:gd name="connsiteX23" fmla="*/ 76334 w 173080"/>
                <a:gd name="connsiteY23" fmla="*/ 590 h 52927"/>
                <a:gd name="connsiteX24" fmla="*/ 90083 w 173080"/>
                <a:gd name="connsiteY24" fmla="*/ 675 h 52927"/>
                <a:gd name="connsiteX25" fmla="*/ 103747 w 173080"/>
                <a:gd name="connsiteY25" fmla="*/ 1856 h 52927"/>
                <a:gd name="connsiteX26" fmla="*/ 117453 w 173080"/>
                <a:gd name="connsiteY26" fmla="*/ 717 h 52927"/>
                <a:gd name="connsiteX27" fmla="*/ 131202 w 173080"/>
                <a:gd name="connsiteY27" fmla="*/ 2024 h 52927"/>
                <a:gd name="connsiteX28" fmla="*/ 144908 w 173080"/>
                <a:gd name="connsiteY28" fmla="*/ 759 h 52927"/>
                <a:gd name="connsiteX29" fmla="*/ 158615 w 173080"/>
                <a:gd name="connsiteY29" fmla="*/ 0 h 52927"/>
                <a:gd name="connsiteX30" fmla="*/ 172532 w 173080"/>
                <a:gd name="connsiteY30" fmla="*/ 843 h 5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3080" h="52927">
                  <a:moveTo>
                    <a:pt x="172532" y="843"/>
                  </a:moveTo>
                  <a:lnTo>
                    <a:pt x="172743" y="13749"/>
                  </a:lnTo>
                  <a:lnTo>
                    <a:pt x="172068" y="26485"/>
                  </a:lnTo>
                  <a:lnTo>
                    <a:pt x="171646" y="39264"/>
                  </a:lnTo>
                  <a:lnTo>
                    <a:pt x="173080" y="52759"/>
                  </a:lnTo>
                  <a:lnTo>
                    <a:pt x="158657" y="52126"/>
                  </a:lnTo>
                  <a:lnTo>
                    <a:pt x="144993" y="51620"/>
                  </a:lnTo>
                  <a:lnTo>
                    <a:pt x="131286" y="52928"/>
                  </a:lnTo>
                  <a:lnTo>
                    <a:pt x="117538" y="51325"/>
                  </a:lnTo>
                  <a:lnTo>
                    <a:pt x="103831" y="52211"/>
                  </a:lnTo>
                  <a:lnTo>
                    <a:pt x="90167" y="52000"/>
                  </a:lnTo>
                  <a:lnTo>
                    <a:pt x="76418" y="52633"/>
                  </a:lnTo>
                  <a:lnTo>
                    <a:pt x="62712" y="51325"/>
                  </a:lnTo>
                  <a:lnTo>
                    <a:pt x="49006" y="51283"/>
                  </a:lnTo>
                  <a:lnTo>
                    <a:pt x="35257" y="52506"/>
                  </a:lnTo>
                  <a:lnTo>
                    <a:pt x="21846" y="51452"/>
                  </a:lnTo>
                  <a:lnTo>
                    <a:pt x="10839" y="39306"/>
                  </a:lnTo>
                  <a:lnTo>
                    <a:pt x="0" y="26527"/>
                  </a:lnTo>
                  <a:lnTo>
                    <a:pt x="11345" y="14128"/>
                  </a:lnTo>
                  <a:lnTo>
                    <a:pt x="21804" y="1518"/>
                  </a:lnTo>
                  <a:lnTo>
                    <a:pt x="35257" y="717"/>
                  </a:lnTo>
                  <a:lnTo>
                    <a:pt x="48921" y="1898"/>
                  </a:lnTo>
                  <a:lnTo>
                    <a:pt x="62628" y="1518"/>
                  </a:lnTo>
                  <a:lnTo>
                    <a:pt x="76334" y="590"/>
                  </a:lnTo>
                  <a:lnTo>
                    <a:pt x="90083" y="675"/>
                  </a:lnTo>
                  <a:lnTo>
                    <a:pt x="103747" y="1856"/>
                  </a:lnTo>
                  <a:lnTo>
                    <a:pt x="117453" y="717"/>
                  </a:lnTo>
                  <a:lnTo>
                    <a:pt x="131202" y="2024"/>
                  </a:lnTo>
                  <a:lnTo>
                    <a:pt x="144908" y="759"/>
                  </a:lnTo>
                  <a:lnTo>
                    <a:pt x="158615" y="0"/>
                  </a:lnTo>
                  <a:lnTo>
                    <a:pt x="172532" y="843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</p:grpSp>
      <p:grpSp>
        <p:nvGrpSpPr>
          <p:cNvPr id="152" name="Group 91">
            <a:extLst>
              <a:ext uri="{FF2B5EF4-FFF2-40B4-BE49-F238E27FC236}">
                <a16:creationId xmlns:a16="http://schemas.microsoft.com/office/drawing/2014/main" id="{F1CD6C33-BD38-7DC5-C57E-1FAA57366ED5}"/>
              </a:ext>
            </a:extLst>
          </p:cNvPr>
          <p:cNvGrpSpPr/>
          <p:nvPr/>
        </p:nvGrpSpPr>
        <p:grpSpPr>
          <a:xfrm>
            <a:off x="1955356" y="2912690"/>
            <a:ext cx="302413" cy="249372"/>
            <a:chOff x="-741021" y="2103591"/>
            <a:chExt cx="370665" cy="305654"/>
          </a:xfrm>
          <a:solidFill>
            <a:srgbClr val="B5CEBD"/>
          </a:solidFill>
        </p:grpSpPr>
        <p:sp>
          <p:nvSpPr>
            <p:cNvPr id="153" name="Freeform: Shape 96" descr="decorative: Freeform: Shape 96">
              <a:extLst>
                <a:ext uri="{FF2B5EF4-FFF2-40B4-BE49-F238E27FC236}">
                  <a16:creationId xmlns:a16="http://schemas.microsoft.com/office/drawing/2014/main" id="{2DCC4E9C-5DD3-9F91-984F-5A7CC1E3A25A}"/>
                </a:ext>
              </a:extLst>
            </p:cNvPr>
            <p:cNvSpPr/>
            <p:nvPr/>
          </p:nvSpPr>
          <p:spPr>
            <a:xfrm>
              <a:off x="-741021" y="2103591"/>
              <a:ext cx="219358" cy="95103"/>
            </a:xfrm>
            <a:custGeom>
              <a:avLst/>
              <a:gdLst>
                <a:gd name="connsiteX0" fmla="*/ 0 w 353231"/>
                <a:gd name="connsiteY0" fmla="*/ 153144 h 153144"/>
                <a:gd name="connsiteX1" fmla="*/ 21672 w 353231"/>
                <a:gd name="connsiteY1" fmla="*/ 142344 h 153144"/>
                <a:gd name="connsiteX2" fmla="*/ 41832 w 353231"/>
                <a:gd name="connsiteY2" fmla="*/ 128736 h 153144"/>
                <a:gd name="connsiteX3" fmla="*/ 64584 w 353231"/>
                <a:gd name="connsiteY3" fmla="*/ 119808 h 153144"/>
                <a:gd name="connsiteX4" fmla="*/ 84456 w 353231"/>
                <a:gd name="connsiteY4" fmla="*/ 105768 h 153144"/>
                <a:gd name="connsiteX5" fmla="*/ 106488 w 353231"/>
                <a:gd name="connsiteY5" fmla="*/ 95544 h 153144"/>
                <a:gd name="connsiteX6" fmla="*/ 127440 w 353231"/>
                <a:gd name="connsiteY6" fmla="*/ 83376 h 153144"/>
                <a:gd name="connsiteX7" fmla="*/ 147888 w 353231"/>
                <a:gd name="connsiteY7" fmla="*/ 70344 h 153144"/>
                <a:gd name="connsiteX8" fmla="*/ 169560 w 353231"/>
                <a:gd name="connsiteY8" fmla="*/ 59472 h 153144"/>
                <a:gd name="connsiteX9" fmla="*/ 189936 w 353231"/>
                <a:gd name="connsiteY9" fmla="*/ 46440 h 153144"/>
                <a:gd name="connsiteX10" fmla="*/ 210960 w 353231"/>
                <a:gd name="connsiteY10" fmla="*/ 34344 h 153144"/>
                <a:gd name="connsiteX11" fmla="*/ 232416 w 353231"/>
                <a:gd name="connsiteY11" fmla="*/ 22968 h 153144"/>
                <a:gd name="connsiteX12" fmla="*/ 252936 w 353231"/>
                <a:gd name="connsiteY12" fmla="*/ 10080 h 153144"/>
                <a:gd name="connsiteX13" fmla="*/ 274896 w 353231"/>
                <a:gd name="connsiteY13" fmla="*/ 0 h 153144"/>
                <a:gd name="connsiteX14" fmla="*/ 293760 w 353231"/>
                <a:gd name="connsiteY14" fmla="*/ 11232 h 153144"/>
                <a:gd name="connsiteX15" fmla="*/ 313776 w 353231"/>
                <a:gd name="connsiteY15" fmla="*/ 20808 h 153144"/>
                <a:gd name="connsiteX16" fmla="*/ 333000 w 353231"/>
                <a:gd name="connsiteY16" fmla="*/ 32040 h 153144"/>
                <a:gd name="connsiteX17" fmla="*/ 353232 w 353231"/>
                <a:gd name="connsiteY17" fmla="*/ 41328 h 15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3231" h="153144">
                  <a:moveTo>
                    <a:pt x="0" y="153144"/>
                  </a:moveTo>
                  <a:lnTo>
                    <a:pt x="21672" y="142344"/>
                  </a:lnTo>
                  <a:lnTo>
                    <a:pt x="41832" y="128736"/>
                  </a:lnTo>
                  <a:lnTo>
                    <a:pt x="64584" y="119808"/>
                  </a:lnTo>
                  <a:lnTo>
                    <a:pt x="84456" y="105768"/>
                  </a:lnTo>
                  <a:lnTo>
                    <a:pt x="106488" y="95544"/>
                  </a:lnTo>
                  <a:lnTo>
                    <a:pt x="127440" y="83376"/>
                  </a:lnTo>
                  <a:lnTo>
                    <a:pt x="147888" y="70344"/>
                  </a:lnTo>
                  <a:lnTo>
                    <a:pt x="169560" y="59472"/>
                  </a:lnTo>
                  <a:lnTo>
                    <a:pt x="189936" y="46440"/>
                  </a:lnTo>
                  <a:lnTo>
                    <a:pt x="210960" y="34344"/>
                  </a:lnTo>
                  <a:lnTo>
                    <a:pt x="232416" y="22968"/>
                  </a:lnTo>
                  <a:lnTo>
                    <a:pt x="252936" y="10080"/>
                  </a:lnTo>
                  <a:lnTo>
                    <a:pt x="274896" y="0"/>
                  </a:lnTo>
                  <a:lnTo>
                    <a:pt x="293760" y="11232"/>
                  </a:lnTo>
                  <a:lnTo>
                    <a:pt x="313776" y="20808"/>
                  </a:lnTo>
                  <a:lnTo>
                    <a:pt x="333000" y="32040"/>
                  </a:lnTo>
                  <a:lnTo>
                    <a:pt x="353232" y="41328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54" name="Freeform: Shape 99" descr="decorative: Freeform: Shape 99">
              <a:extLst>
                <a:ext uri="{FF2B5EF4-FFF2-40B4-BE49-F238E27FC236}">
                  <a16:creationId xmlns:a16="http://schemas.microsoft.com/office/drawing/2014/main" id="{93016FE4-914C-C8F4-243C-F6BA10D78C4E}"/>
                </a:ext>
              </a:extLst>
            </p:cNvPr>
            <p:cNvSpPr/>
            <p:nvPr/>
          </p:nvSpPr>
          <p:spPr>
            <a:xfrm>
              <a:off x="-715133" y="2184163"/>
              <a:ext cx="298410" cy="225082"/>
            </a:xfrm>
            <a:custGeom>
              <a:avLst/>
              <a:gdLst>
                <a:gd name="connsiteX0" fmla="*/ 2880 w 480528"/>
                <a:gd name="connsiteY0" fmla="*/ 0 h 362448"/>
                <a:gd name="connsiteX1" fmla="*/ 0 w 480528"/>
                <a:gd name="connsiteY1" fmla="*/ 23976 h 362448"/>
                <a:gd name="connsiteX2" fmla="*/ 3312 w 480528"/>
                <a:gd name="connsiteY2" fmla="*/ 48024 h 362448"/>
                <a:gd name="connsiteX3" fmla="*/ 1584 w 480528"/>
                <a:gd name="connsiteY3" fmla="*/ 72072 h 362448"/>
                <a:gd name="connsiteX4" fmla="*/ 3024 w 480528"/>
                <a:gd name="connsiteY4" fmla="*/ 96120 h 362448"/>
                <a:gd name="connsiteX5" fmla="*/ 2376 w 480528"/>
                <a:gd name="connsiteY5" fmla="*/ 120168 h 362448"/>
                <a:gd name="connsiteX6" fmla="*/ 288 w 480528"/>
                <a:gd name="connsiteY6" fmla="*/ 144144 h 362448"/>
                <a:gd name="connsiteX7" fmla="*/ 1800 w 480528"/>
                <a:gd name="connsiteY7" fmla="*/ 168192 h 362448"/>
                <a:gd name="connsiteX8" fmla="*/ 2232 w 480528"/>
                <a:gd name="connsiteY8" fmla="*/ 192312 h 362448"/>
                <a:gd name="connsiteX9" fmla="*/ 3312 w 480528"/>
                <a:gd name="connsiteY9" fmla="*/ 216360 h 362448"/>
                <a:gd name="connsiteX10" fmla="*/ 3456 w 480528"/>
                <a:gd name="connsiteY10" fmla="*/ 240336 h 362448"/>
                <a:gd name="connsiteX11" fmla="*/ 1512 w 480528"/>
                <a:gd name="connsiteY11" fmla="*/ 264456 h 362448"/>
                <a:gd name="connsiteX12" fmla="*/ 2304 w 480528"/>
                <a:gd name="connsiteY12" fmla="*/ 288504 h 362448"/>
                <a:gd name="connsiteX13" fmla="*/ 2880 w 480528"/>
                <a:gd name="connsiteY13" fmla="*/ 312552 h 362448"/>
                <a:gd name="connsiteX14" fmla="*/ 2952 w 480528"/>
                <a:gd name="connsiteY14" fmla="*/ 336672 h 362448"/>
                <a:gd name="connsiteX15" fmla="*/ 2016 w 480528"/>
                <a:gd name="connsiteY15" fmla="*/ 360504 h 362448"/>
                <a:gd name="connsiteX16" fmla="*/ 25632 w 480528"/>
                <a:gd name="connsiteY16" fmla="*/ 362448 h 362448"/>
                <a:gd name="connsiteX17" fmla="*/ 49536 w 480528"/>
                <a:gd name="connsiteY17" fmla="*/ 361296 h 362448"/>
                <a:gd name="connsiteX18" fmla="*/ 73368 w 480528"/>
                <a:gd name="connsiteY18" fmla="*/ 360072 h 362448"/>
                <a:gd name="connsiteX19" fmla="*/ 97272 w 480528"/>
                <a:gd name="connsiteY19" fmla="*/ 361296 h 362448"/>
                <a:gd name="connsiteX20" fmla="*/ 121104 w 480528"/>
                <a:gd name="connsiteY20" fmla="*/ 360000 h 362448"/>
                <a:gd name="connsiteX21" fmla="*/ 145008 w 480528"/>
                <a:gd name="connsiteY21" fmla="*/ 361512 h 362448"/>
                <a:gd name="connsiteX22" fmla="*/ 168840 w 480528"/>
                <a:gd name="connsiteY22" fmla="*/ 361152 h 362448"/>
                <a:gd name="connsiteX23" fmla="*/ 192744 w 480528"/>
                <a:gd name="connsiteY23" fmla="*/ 359064 h 362448"/>
                <a:gd name="connsiteX24" fmla="*/ 216576 w 480528"/>
                <a:gd name="connsiteY24" fmla="*/ 359352 h 362448"/>
                <a:gd name="connsiteX25" fmla="*/ 240480 w 480528"/>
                <a:gd name="connsiteY25" fmla="*/ 360432 h 362448"/>
                <a:gd name="connsiteX26" fmla="*/ 264312 w 480528"/>
                <a:gd name="connsiteY26" fmla="*/ 359496 h 362448"/>
                <a:gd name="connsiteX27" fmla="*/ 288216 w 480528"/>
                <a:gd name="connsiteY27" fmla="*/ 362448 h 362448"/>
                <a:gd name="connsiteX28" fmla="*/ 312120 w 480528"/>
                <a:gd name="connsiteY28" fmla="*/ 361944 h 362448"/>
                <a:gd name="connsiteX29" fmla="*/ 336024 w 480528"/>
                <a:gd name="connsiteY29" fmla="*/ 361080 h 362448"/>
                <a:gd name="connsiteX30" fmla="*/ 359928 w 480528"/>
                <a:gd name="connsiteY30" fmla="*/ 359568 h 362448"/>
                <a:gd name="connsiteX31" fmla="*/ 383832 w 480528"/>
                <a:gd name="connsiteY31" fmla="*/ 359280 h 362448"/>
                <a:gd name="connsiteX32" fmla="*/ 407736 w 480528"/>
                <a:gd name="connsiteY32" fmla="*/ 360792 h 362448"/>
                <a:gd name="connsiteX33" fmla="*/ 431640 w 480528"/>
                <a:gd name="connsiteY33" fmla="*/ 358992 h 362448"/>
                <a:gd name="connsiteX34" fmla="*/ 455544 w 480528"/>
                <a:gd name="connsiteY34" fmla="*/ 360288 h 362448"/>
                <a:gd name="connsiteX35" fmla="*/ 478800 w 480528"/>
                <a:gd name="connsiteY35" fmla="*/ 360072 h 362448"/>
                <a:gd name="connsiteX36" fmla="*/ 480528 w 480528"/>
                <a:gd name="connsiteY36" fmla="*/ 335520 h 362448"/>
                <a:gd name="connsiteX37" fmla="*/ 479304 w 480528"/>
                <a:gd name="connsiteY37" fmla="*/ 310320 h 362448"/>
                <a:gd name="connsiteX38" fmla="*/ 478800 w 480528"/>
                <a:gd name="connsiteY38" fmla="*/ 285048 h 362448"/>
                <a:gd name="connsiteX39" fmla="*/ 479232 w 480528"/>
                <a:gd name="connsiteY39" fmla="*/ 259776 h 362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0528" h="362448">
                  <a:moveTo>
                    <a:pt x="2880" y="0"/>
                  </a:moveTo>
                  <a:lnTo>
                    <a:pt x="0" y="23976"/>
                  </a:lnTo>
                  <a:lnTo>
                    <a:pt x="3312" y="48024"/>
                  </a:lnTo>
                  <a:lnTo>
                    <a:pt x="1584" y="72072"/>
                  </a:lnTo>
                  <a:lnTo>
                    <a:pt x="3024" y="96120"/>
                  </a:lnTo>
                  <a:lnTo>
                    <a:pt x="2376" y="120168"/>
                  </a:lnTo>
                  <a:lnTo>
                    <a:pt x="288" y="144144"/>
                  </a:lnTo>
                  <a:lnTo>
                    <a:pt x="1800" y="168192"/>
                  </a:lnTo>
                  <a:lnTo>
                    <a:pt x="2232" y="192312"/>
                  </a:lnTo>
                  <a:lnTo>
                    <a:pt x="3312" y="216360"/>
                  </a:lnTo>
                  <a:lnTo>
                    <a:pt x="3456" y="240336"/>
                  </a:lnTo>
                  <a:lnTo>
                    <a:pt x="1512" y="264456"/>
                  </a:lnTo>
                  <a:lnTo>
                    <a:pt x="2304" y="288504"/>
                  </a:lnTo>
                  <a:lnTo>
                    <a:pt x="2880" y="312552"/>
                  </a:lnTo>
                  <a:lnTo>
                    <a:pt x="2952" y="336672"/>
                  </a:lnTo>
                  <a:lnTo>
                    <a:pt x="2016" y="360504"/>
                  </a:lnTo>
                  <a:lnTo>
                    <a:pt x="25632" y="362448"/>
                  </a:lnTo>
                  <a:lnTo>
                    <a:pt x="49536" y="361296"/>
                  </a:lnTo>
                  <a:lnTo>
                    <a:pt x="73368" y="360072"/>
                  </a:lnTo>
                  <a:lnTo>
                    <a:pt x="97272" y="361296"/>
                  </a:lnTo>
                  <a:lnTo>
                    <a:pt x="121104" y="360000"/>
                  </a:lnTo>
                  <a:lnTo>
                    <a:pt x="145008" y="361512"/>
                  </a:lnTo>
                  <a:lnTo>
                    <a:pt x="168840" y="361152"/>
                  </a:lnTo>
                  <a:lnTo>
                    <a:pt x="192744" y="359064"/>
                  </a:lnTo>
                  <a:lnTo>
                    <a:pt x="216576" y="359352"/>
                  </a:lnTo>
                  <a:lnTo>
                    <a:pt x="240480" y="360432"/>
                  </a:lnTo>
                  <a:lnTo>
                    <a:pt x="264312" y="359496"/>
                  </a:lnTo>
                  <a:lnTo>
                    <a:pt x="288216" y="362448"/>
                  </a:lnTo>
                  <a:lnTo>
                    <a:pt x="312120" y="361944"/>
                  </a:lnTo>
                  <a:lnTo>
                    <a:pt x="336024" y="361080"/>
                  </a:lnTo>
                  <a:lnTo>
                    <a:pt x="359928" y="359568"/>
                  </a:lnTo>
                  <a:lnTo>
                    <a:pt x="383832" y="359280"/>
                  </a:lnTo>
                  <a:lnTo>
                    <a:pt x="407736" y="360792"/>
                  </a:lnTo>
                  <a:lnTo>
                    <a:pt x="431640" y="358992"/>
                  </a:lnTo>
                  <a:lnTo>
                    <a:pt x="455544" y="360288"/>
                  </a:lnTo>
                  <a:lnTo>
                    <a:pt x="478800" y="360072"/>
                  </a:lnTo>
                  <a:lnTo>
                    <a:pt x="480528" y="335520"/>
                  </a:lnTo>
                  <a:lnTo>
                    <a:pt x="479304" y="310320"/>
                  </a:lnTo>
                  <a:lnTo>
                    <a:pt x="478800" y="285048"/>
                  </a:lnTo>
                  <a:lnTo>
                    <a:pt x="479232" y="25977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55" name="Freeform: Shape 100" descr="decorative: Freeform: Shape 100">
              <a:extLst>
                <a:ext uri="{FF2B5EF4-FFF2-40B4-BE49-F238E27FC236}">
                  <a16:creationId xmlns:a16="http://schemas.microsoft.com/office/drawing/2014/main" id="{821FFB72-0C2B-2277-E345-82C5B10C668A}"/>
                </a:ext>
              </a:extLst>
            </p:cNvPr>
            <p:cNvSpPr/>
            <p:nvPr/>
          </p:nvSpPr>
          <p:spPr>
            <a:xfrm>
              <a:off x="-594677" y="2161269"/>
              <a:ext cx="224321" cy="145181"/>
            </a:xfrm>
            <a:custGeom>
              <a:avLst/>
              <a:gdLst>
                <a:gd name="connsiteX0" fmla="*/ 56952 w 361223"/>
                <a:gd name="connsiteY0" fmla="*/ 233784 h 233784"/>
                <a:gd name="connsiteX1" fmla="*/ 35208 w 361223"/>
                <a:gd name="connsiteY1" fmla="*/ 227520 h 233784"/>
                <a:gd name="connsiteX2" fmla="*/ 16416 w 361223"/>
                <a:gd name="connsiteY2" fmla="*/ 215496 h 233784"/>
                <a:gd name="connsiteX3" fmla="*/ 3384 w 361223"/>
                <a:gd name="connsiteY3" fmla="*/ 197136 h 233784"/>
                <a:gd name="connsiteX4" fmla="*/ 0 w 361223"/>
                <a:gd name="connsiteY4" fmla="*/ 174960 h 233784"/>
                <a:gd name="connsiteX5" fmla="*/ 3168 w 361223"/>
                <a:gd name="connsiteY5" fmla="*/ 154656 h 233784"/>
                <a:gd name="connsiteX6" fmla="*/ 13248 w 361223"/>
                <a:gd name="connsiteY6" fmla="*/ 136440 h 233784"/>
                <a:gd name="connsiteX7" fmla="*/ 29736 w 361223"/>
                <a:gd name="connsiteY7" fmla="*/ 123624 h 233784"/>
                <a:gd name="connsiteX8" fmla="*/ 48528 w 361223"/>
                <a:gd name="connsiteY8" fmla="*/ 116280 h 233784"/>
                <a:gd name="connsiteX9" fmla="*/ 44928 w 361223"/>
                <a:gd name="connsiteY9" fmla="*/ 93240 h 233784"/>
                <a:gd name="connsiteX10" fmla="*/ 49680 w 361223"/>
                <a:gd name="connsiteY10" fmla="*/ 68760 h 233784"/>
                <a:gd name="connsiteX11" fmla="*/ 58536 w 361223"/>
                <a:gd name="connsiteY11" fmla="*/ 45576 h 233784"/>
                <a:gd name="connsiteX12" fmla="*/ 74160 w 361223"/>
                <a:gd name="connsiteY12" fmla="*/ 26280 h 233784"/>
                <a:gd name="connsiteX13" fmla="*/ 93312 w 361223"/>
                <a:gd name="connsiteY13" fmla="*/ 10440 h 233784"/>
                <a:gd name="connsiteX14" fmla="*/ 116208 w 361223"/>
                <a:gd name="connsiteY14" fmla="*/ 216 h 233784"/>
                <a:gd name="connsiteX15" fmla="*/ 141120 w 361223"/>
                <a:gd name="connsiteY15" fmla="*/ 0 h 233784"/>
                <a:gd name="connsiteX16" fmla="*/ 162792 w 361223"/>
                <a:gd name="connsiteY16" fmla="*/ 2520 h 233784"/>
                <a:gd name="connsiteX17" fmla="*/ 183312 w 361223"/>
                <a:gd name="connsiteY17" fmla="*/ 9864 h 233784"/>
                <a:gd name="connsiteX18" fmla="*/ 202824 w 361223"/>
                <a:gd name="connsiteY18" fmla="*/ 20448 h 233784"/>
                <a:gd name="connsiteX19" fmla="*/ 217872 w 361223"/>
                <a:gd name="connsiteY19" fmla="*/ 36792 h 233784"/>
                <a:gd name="connsiteX20" fmla="*/ 227952 w 361223"/>
                <a:gd name="connsiteY20" fmla="*/ 56520 h 233784"/>
                <a:gd name="connsiteX21" fmla="*/ 234000 w 361223"/>
                <a:gd name="connsiteY21" fmla="*/ 78768 h 233784"/>
                <a:gd name="connsiteX22" fmla="*/ 250344 w 361223"/>
                <a:gd name="connsiteY22" fmla="*/ 64152 h 233784"/>
                <a:gd name="connsiteX23" fmla="*/ 268560 w 361223"/>
                <a:gd name="connsiteY23" fmla="*/ 53424 h 233784"/>
                <a:gd name="connsiteX24" fmla="*/ 289728 w 361223"/>
                <a:gd name="connsiteY24" fmla="*/ 51552 h 233784"/>
                <a:gd name="connsiteX25" fmla="*/ 311472 w 361223"/>
                <a:gd name="connsiteY25" fmla="*/ 55800 h 233784"/>
                <a:gd name="connsiteX26" fmla="*/ 331056 w 361223"/>
                <a:gd name="connsiteY26" fmla="*/ 65808 h 233784"/>
                <a:gd name="connsiteX27" fmla="*/ 346536 w 361223"/>
                <a:gd name="connsiteY27" fmla="*/ 81432 h 233784"/>
                <a:gd name="connsiteX28" fmla="*/ 358992 w 361223"/>
                <a:gd name="connsiteY28" fmla="*/ 100224 h 233784"/>
                <a:gd name="connsiteX29" fmla="*/ 361224 w 361223"/>
                <a:gd name="connsiteY29" fmla="*/ 122688 h 233784"/>
                <a:gd name="connsiteX30" fmla="*/ 356760 w 361223"/>
                <a:gd name="connsiteY30" fmla="*/ 145152 h 233784"/>
                <a:gd name="connsiteX31" fmla="*/ 346032 w 361223"/>
                <a:gd name="connsiteY31" fmla="*/ 165168 h 233784"/>
                <a:gd name="connsiteX32" fmla="*/ 330192 w 361223"/>
                <a:gd name="connsiteY32" fmla="*/ 181656 h 233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1223" h="233784">
                  <a:moveTo>
                    <a:pt x="56952" y="233784"/>
                  </a:moveTo>
                  <a:lnTo>
                    <a:pt x="35208" y="227520"/>
                  </a:lnTo>
                  <a:lnTo>
                    <a:pt x="16416" y="215496"/>
                  </a:lnTo>
                  <a:lnTo>
                    <a:pt x="3384" y="197136"/>
                  </a:lnTo>
                  <a:lnTo>
                    <a:pt x="0" y="174960"/>
                  </a:lnTo>
                  <a:lnTo>
                    <a:pt x="3168" y="154656"/>
                  </a:lnTo>
                  <a:lnTo>
                    <a:pt x="13248" y="136440"/>
                  </a:lnTo>
                  <a:lnTo>
                    <a:pt x="29736" y="123624"/>
                  </a:lnTo>
                  <a:lnTo>
                    <a:pt x="48528" y="116280"/>
                  </a:lnTo>
                  <a:lnTo>
                    <a:pt x="44928" y="93240"/>
                  </a:lnTo>
                  <a:lnTo>
                    <a:pt x="49680" y="68760"/>
                  </a:lnTo>
                  <a:lnTo>
                    <a:pt x="58536" y="45576"/>
                  </a:lnTo>
                  <a:lnTo>
                    <a:pt x="74160" y="26280"/>
                  </a:lnTo>
                  <a:lnTo>
                    <a:pt x="93312" y="10440"/>
                  </a:lnTo>
                  <a:lnTo>
                    <a:pt x="116208" y="216"/>
                  </a:lnTo>
                  <a:lnTo>
                    <a:pt x="141120" y="0"/>
                  </a:lnTo>
                  <a:lnTo>
                    <a:pt x="162792" y="2520"/>
                  </a:lnTo>
                  <a:lnTo>
                    <a:pt x="183312" y="9864"/>
                  </a:lnTo>
                  <a:lnTo>
                    <a:pt x="202824" y="20448"/>
                  </a:lnTo>
                  <a:lnTo>
                    <a:pt x="217872" y="36792"/>
                  </a:lnTo>
                  <a:lnTo>
                    <a:pt x="227952" y="56520"/>
                  </a:lnTo>
                  <a:lnTo>
                    <a:pt x="234000" y="78768"/>
                  </a:lnTo>
                  <a:lnTo>
                    <a:pt x="250344" y="64152"/>
                  </a:lnTo>
                  <a:lnTo>
                    <a:pt x="268560" y="53424"/>
                  </a:lnTo>
                  <a:lnTo>
                    <a:pt x="289728" y="51552"/>
                  </a:lnTo>
                  <a:lnTo>
                    <a:pt x="311472" y="55800"/>
                  </a:lnTo>
                  <a:lnTo>
                    <a:pt x="331056" y="65808"/>
                  </a:lnTo>
                  <a:lnTo>
                    <a:pt x="346536" y="81432"/>
                  </a:lnTo>
                  <a:lnTo>
                    <a:pt x="358992" y="100224"/>
                  </a:lnTo>
                  <a:lnTo>
                    <a:pt x="361224" y="122688"/>
                  </a:lnTo>
                  <a:lnTo>
                    <a:pt x="356760" y="145152"/>
                  </a:lnTo>
                  <a:lnTo>
                    <a:pt x="346032" y="165168"/>
                  </a:lnTo>
                  <a:lnTo>
                    <a:pt x="330192" y="18165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56" name="Freeform: Shape 101" descr="decorative: Freeform: Shape 101">
              <a:extLst>
                <a:ext uri="{FF2B5EF4-FFF2-40B4-BE49-F238E27FC236}">
                  <a16:creationId xmlns:a16="http://schemas.microsoft.com/office/drawing/2014/main" id="{0B4A8F91-11CF-BD9A-67A4-1D6022D51FC3}"/>
                </a:ext>
              </a:extLst>
            </p:cNvPr>
            <p:cNvSpPr/>
            <p:nvPr/>
          </p:nvSpPr>
          <p:spPr>
            <a:xfrm>
              <a:off x="-542007" y="2267730"/>
              <a:ext cx="46500" cy="51777"/>
            </a:xfrm>
            <a:custGeom>
              <a:avLst/>
              <a:gdLst>
                <a:gd name="connsiteX0" fmla="*/ 74808 w 74879"/>
                <a:gd name="connsiteY0" fmla="*/ 28656 h 83376"/>
                <a:gd name="connsiteX1" fmla="*/ 57456 w 74879"/>
                <a:gd name="connsiteY1" fmla="*/ 27648 h 83376"/>
                <a:gd name="connsiteX2" fmla="*/ 56880 w 74879"/>
                <a:gd name="connsiteY2" fmla="*/ 21672 h 83376"/>
                <a:gd name="connsiteX3" fmla="*/ 51119 w 74879"/>
                <a:gd name="connsiteY3" fmla="*/ 18648 h 83376"/>
                <a:gd name="connsiteX4" fmla="*/ 46656 w 74879"/>
                <a:gd name="connsiteY4" fmla="*/ 14256 h 83376"/>
                <a:gd name="connsiteX5" fmla="*/ 39816 w 74879"/>
                <a:gd name="connsiteY5" fmla="*/ 15480 h 83376"/>
                <a:gd name="connsiteX6" fmla="*/ 29087 w 74879"/>
                <a:gd name="connsiteY6" fmla="*/ 17712 h 83376"/>
                <a:gd name="connsiteX7" fmla="*/ 20160 w 74879"/>
                <a:gd name="connsiteY7" fmla="*/ 25776 h 83376"/>
                <a:gd name="connsiteX8" fmla="*/ 19152 w 74879"/>
                <a:gd name="connsiteY8" fmla="*/ 40752 h 83376"/>
                <a:gd name="connsiteX9" fmla="*/ 21168 w 74879"/>
                <a:gd name="connsiteY9" fmla="*/ 55584 h 83376"/>
                <a:gd name="connsiteX10" fmla="*/ 28800 w 74879"/>
                <a:gd name="connsiteY10" fmla="*/ 64512 h 83376"/>
                <a:gd name="connsiteX11" fmla="*/ 39744 w 74879"/>
                <a:gd name="connsiteY11" fmla="*/ 69120 h 83376"/>
                <a:gd name="connsiteX12" fmla="*/ 45935 w 74879"/>
                <a:gd name="connsiteY12" fmla="*/ 65664 h 83376"/>
                <a:gd name="connsiteX13" fmla="*/ 52200 w 74879"/>
                <a:gd name="connsiteY13" fmla="*/ 64728 h 83376"/>
                <a:gd name="connsiteX14" fmla="*/ 55440 w 74879"/>
                <a:gd name="connsiteY14" fmla="*/ 59544 h 83376"/>
                <a:gd name="connsiteX15" fmla="*/ 57384 w 74879"/>
                <a:gd name="connsiteY15" fmla="*/ 53496 h 83376"/>
                <a:gd name="connsiteX16" fmla="*/ 74664 w 74879"/>
                <a:gd name="connsiteY16" fmla="*/ 54576 h 83376"/>
                <a:gd name="connsiteX17" fmla="*/ 71352 w 74879"/>
                <a:gd name="connsiteY17" fmla="*/ 64440 h 83376"/>
                <a:gd name="connsiteX18" fmla="*/ 63792 w 74879"/>
                <a:gd name="connsiteY18" fmla="*/ 73152 h 83376"/>
                <a:gd name="connsiteX19" fmla="*/ 53424 w 74879"/>
                <a:gd name="connsiteY19" fmla="*/ 79776 h 83376"/>
                <a:gd name="connsiteX20" fmla="*/ 39528 w 74879"/>
                <a:gd name="connsiteY20" fmla="*/ 83376 h 83376"/>
                <a:gd name="connsiteX21" fmla="*/ 19800 w 74879"/>
                <a:gd name="connsiteY21" fmla="*/ 77976 h 83376"/>
                <a:gd name="connsiteX22" fmla="*/ 5832 w 74879"/>
                <a:gd name="connsiteY22" fmla="*/ 63648 h 83376"/>
                <a:gd name="connsiteX23" fmla="*/ 0 w 74879"/>
                <a:gd name="connsiteY23" fmla="*/ 40680 h 83376"/>
                <a:gd name="connsiteX24" fmla="*/ 6768 w 74879"/>
                <a:gd name="connsiteY24" fmla="*/ 18144 h 83376"/>
                <a:gd name="connsiteX25" fmla="*/ 19800 w 74879"/>
                <a:gd name="connsiteY25" fmla="*/ 3096 h 83376"/>
                <a:gd name="connsiteX26" fmla="*/ 39528 w 74879"/>
                <a:gd name="connsiteY26" fmla="*/ 288 h 83376"/>
                <a:gd name="connsiteX27" fmla="*/ 52919 w 74879"/>
                <a:gd name="connsiteY27" fmla="*/ 0 h 83376"/>
                <a:gd name="connsiteX28" fmla="*/ 63000 w 74879"/>
                <a:gd name="connsiteY28" fmla="*/ 7128 h 83376"/>
                <a:gd name="connsiteX29" fmla="*/ 70271 w 74879"/>
                <a:gd name="connsiteY29" fmla="*/ 16344 h 83376"/>
                <a:gd name="connsiteX30" fmla="*/ 74880 w 74879"/>
                <a:gd name="connsiteY30" fmla="*/ 28656 h 83376"/>
                <a:gd name="connsiteX31" fmla="*/ 74808 w 74879"/>
                <a:gd name="connsiteY31" fmla="*/ 28656 h 8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4879" h="83376">
                  <a:moveTo>
                    <a:pt x="74808" y="28656"/>
                  </a:moveTo>
                  <a:lnTo>
                    <a:pt x="57456" y="27648"/>
                  </a:lnTo>
                  <a:lnTo>
                    <a:pt x="56880" y="21672"/>
                  </a:lnTo>
                  <a:lnTo>
                    <a:pt x="51119" y="18648"/>
                  </a:lnTo>
                  <a:lnTo>
                    <a:pt x="46656" y="14256"/>
                  </a:lnTo>
                  <a:lnTo>
                    <a:pt x="39816" y="15480"/>
                  </a:lnTo>
                  <a:lnTo>
                    <a:pt x="29087" y="17712"/>
                  </a:lnTo>
                  <a:lnTo>
                    <a:pt x="20160" y="25776"/>
                  </a:lnTo>
                  <a:lnTo>
                    <a:pt x="19152" y="40752"/>
                  </a:lnTo>
                  <a:lnTo>
                    <a:pt x="21168" y="55584"/>
                  </a:lnTo>
                  <a:lnTo>
                    <a:pt x="28800" y="64512"/>
                  </a:lnTo>
                  <a:lnTo>
                    <a:pt x="39744" y="69120"/>
                  </a:lnTo>
                  <a:lnTo>
                    <a:pt x="45935" y="65664"/>
                  </a:lnTo>
                  <a:lnTo>
                    <a:pt x="52200" y="64728"/>
                  </a:lnTo>
                  <a:lnTo>
                    <a:pt x="55440" y="59544"/>
                  </a:lnTo>
                  <a:lnTo>
                    <a:pt x="57384" y="53496"/>
                  </a:lnTo>
                  <a:lnTo>
                    <a:pt x="74664" y="54576"/>
                  </a:lnTo>
                  <a:lnTo>
                    <a:pt x="71352" y="64440"/>
                  </a:lnTo>
                  <a:lnTo>
                    <a:pt x="63792" y="73152"/>
                  </a:lnTo>
                  <a:lnTo>
                    <a:pt x="53424" y="79776"/>
                  </a:lnTo>
                  <a:lnTo>
                    <a:pt x="39528" y="83376"/>
                  </a:lnTo>
                  <a:lnTo>
                    <a:pt x="19800" y="77976"/>
                  </a:lnTo>
                  <a:lnTo>
                    <a:pt x="5832" y="63648"/>
                  </a:lnTo>
                  <a:lnTo>
                    <a:pt x="0" y="40680"/>
                  </a:lnTo>
                  <a:lnTo>
                    <a:pt x="6768" y="18144"/>
                  </a:lnTo>
                  <a:lnTo>
                    <a:pt x="19800" y="3096"/>
                  </a:lnTo>
                  <a:lnTo>
                    <a:pt x="39528" y="288"/>
                  </a:lnTo>
                  <a:lnTo>
                    <a:pt x="52919" y="0"/>
                  </a:lnTo>
                  <a:lnTo>
                    <a:pt x="63000" y="7128"/>
                  </a:lnTo>
                  <a:lnTo>
                    <a:pt x="70271" y="16344"/>
                  </a:lnTo>
                  <a:lnTo>
                    <a:pt x="74880" y="28656"/>
                  </a:lnTo>
                  <a:lnTo>
                    <a:pt x="74808" y="2865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57" name="Freeform: Shape 105" descr="decorative: Freeform: Shape 105">
              <a:extLst>
                <a:ext uri="{FF2B5EF4-FFF2-40B4-BE49-F238E27FC236}">
                  <a16:creationId xmlns:a16="http://schemas.microsoft.com/office/drawing/2014/main" id="{673AC707-43E5-2A5C-0CE9-7EB69771B42A}"/>
                </a:ext>
              </a:extLst>
            </p:cNvPr>
            <p:cNvSpPr/>
            <p:nvPr/>
          </p:nvSpPr>
          <p:spPr>
            <a:xfrm>
              <a:off x="-488665" y="2278908"/>
              <a:ext cx="37155" cy="41180"/>
            </a:xfrm>
            <a:custGeom>
              <a:avLst/>
              <a:gdLst>
                <a:gd name="connsiteX0" fmla="*/ 31537 w 59831"/>
                <a:gd name="connsiteY0" fmla="*/ 66240 h 66311"/>
                <a:gd name="connsiteX1" fmla="*/ 16344 w 59831"/>
                <a:gd name="connsiteY1" fmla="*/ 59184 h 66311"/>
                <a:gd name="connsiteX2" fmla="*/ 3744 w 59831"/>
                <a:gd name="connsiteY2" fmla="*/ 50256 h 66311"/>
                <a:gd name="connsiteX3" fmla="*/ 0 w 59831"/>
                <a:gd name="connsiteY3" fmla="*/ 33048 h 66311"/>
                <a:gd name="connsiteX4" fmla="*/ 4248 w 59831"/>
                <a:gd name="connsiteY4" fmla="*/ 16056 h 66311"/>
                <a:gd name="connsiteX5" fmla="*/ 15264 w 59831"/>
                <a:gd name="connsiteY5" fmla="*/ 4968 h 66311"/>
                <a:gd name="connsiteX6" fmla="*/ 31537 w 59831"/>
                <a:gd name="connsiteY6" fmla="*/ 0 h 66311"/>
                <a:gd name="connsiteX7" fmla="*/ 47232 w 59831"/>
                <a:gd name="connsiteY7" fmla="*/ 5904 h 66311"/>
                <a:gd name="connsiteX8" fmla="*/ 58968 w 59831"/>
                <a:gd name="connsiteY8" fmla="*/ 15984 h 66311"/>
                <a:gd name="connsiteX9" fmla="*/ 59832 w 59831"/>
                <a:gd name="connsiteY9" fmla="*/ 33120 h 66311"/>
                <a:gd name="connsiteX10" fmla="*/ 58896 w 59831"/>
                <a:gd name="connsiteY10" fmla="*/ 50112 h 66311"/>
                <a:gd name="connsiteX11" fmla="*/ 46584 w 59831"/>
                <a:gd name="connsiteY11" fmla="*/ 59112 h 66311"/>
                <a:gd name="connsiteX12" fmla="*/ 31464 w 59831"/>
                <a:gd name="connsiteY12" fmla="*/ 66312 h 66311"/>
                <a:gd name="connsiteX13" fmla="*/ 31537 w 59831"/>
                <a:gd name="connsiteY13" fmla="*/ 66240 h 66311"/>
                <a:gd name="connsiteX14" fmla="*/ 31608 w 59831"/>
                <a:gd name="connsiteY14" fmla="*/ 49752 h 66311"/>
                <a:gd name="connsiteX15" fmla="*/ 39744 w 59831"/>
                <a:gd name="connsiteY15" fmla="*/ 50328 h 66311"/>
                <a:gd name="connsiteX16" fmla="*/ 41473 w 59831"/>
                <a:gd name="connsiteY16" fmla="*/ 41976 h 66311"/>
                <a:gd name="connsiteX17" fmla="*/ 42912 w 59831"/>
                <a:gd name="connsiteY17" fmla="*/ 32976 h 66311"/>
                <a:gd name="connsiteX18" fmla="*/ 41976 w 59831"/>
                <a:gd name="connsiteY18" fmla="*/ 23832 h 66311"/>
                <a:gd name="connsiteX19" fmla="*/ 38305 w 59831"/>
                <a:gd name="connsiteY19" fmla="*/ 17352 h 66311"/>
                <a:gd name="connsiteX20" fmla="*/ 31680 w 59831"/>
                <a:gd name="connsiteY20" fmla="*/ 15984 h 66311"/>
                <a:gd name="connsiteX21" fmla="*/ 24192 w 59831"/>
                <a:gd name="connsiteY21" fmla="*/ 16488 h 66311"/>
                <a:gd name="connsiteX22" fmla="*/ 21312 w 59831"/>
                <a:gd name="connsiteY22" fmla="*/ 23904 h 66311"/>
                <a:gd name="connsiteX23" fmla="*/ 17064 w 59831"/>
                <a:gd name="connsiteY23" fmla="*/ 33048 h 66311"/>
                <a:gd name="connsiteX24" fmla="*/ 21240 w 59831"/>
                <a:gd name="connsiteY24" fmla="*/ 42192 h 66311"/>
                <a:gd name="connsiteX25" fmla="*/ 23400 w 59831"/>
                <a:gd name="connsiteY25" fmla="*/ 50544 h 66311"/>
                <a:gd name="connsiteX26" fmla="*/ 31680 w 59831"/>
                <a:gd name="connsiteY26" fmla="*/ 49896 h 66311"/>
                <a:gd name="connsiteX27" fmla="*/ 31608 w 59831"/>
                <a:gd name="connsiteY27" fmla="*/ 49752 h 66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9831" h="66311">
                  <a:moveTo>
                    <a:pt x="31537" y="66240"/>
                  </a:moveTo>
                  <a:lnTo>
                    <a:pt x="16344" y="59184"/>
                  </a:lnTo>
                  <a:lnTo>
                    <a:pt x="3744" y="50256"/>
                  </a:lnTo>
                  <a:lnTo>
                    <a:pt x="0" y="33048"/>
                  </a:lnTo>
                  <a:lnTo>
                    <a:pt x="4248" y="16056"/>
                  </a:lnTo>
                  <a:lnTo>
                    <a:pt x="15264" y="4968"/>
                  </a:lnTo>
                  <a:lnTo>
                    <a:pt x="31537" y="0"/>
                  </a:lnTo>
                  <a:lnTo>
                    <a:pt x="47232" y="5904"/>
                  </a:lnTo>
                  <a:lnTo>
                    <a:pt x="58968" y="15984"/>
                  </a:lnTo>
                  <a:lnTo>
                    <a:pt x="59832" y="33120"/>
                  </a:lnTo>
                  <a:lnTo>
                    <a:pt x="58896" y="50112"/>
                  </a:lnTo>
                  <a:lnTo>
                    <a:pt x="46584" y="59112"/>
                  </a:lnTo>
                  <a:lnTo>
                    <a:pt x="31464" y="66312"/>
                  </a:lnTo>
                  <a:lnTo>
                    <a:pt x="31537" y="66240"/>
                  </a:lnTo>
                  <a:close/>
                  <a:moveTo>
                    <a:pt x="31608" y="49752"/>
                  </a:moveTo>
                  <a:lnTo>
                    <a:pt x="39744" y="50328"/>
                  </a:lnTo>
                  <a:lnTo>
                    <a:pt x="41473" y="41976"/>
                  </a:lnTo>
                  <a:lnTo>
                    <a:pt x="42912" y="32976"/>
                  </a:lnTo>
                  <a:lnTo>
                    <a:pt x="41976" y="23832"/>
                  </a:lnTo>
                  <a:lnTo>
                    <a:pt x="38305" y="17352"/>
                  </a:lnTo>
                  <a:lnTo>
                    <a:pt x="31680" y="15984"/>
                  </a:lnTo>
                  <a:lnTo>
                    <a:pt x="24192" y="16488"/>
                  </a:lnTo>
                  <a:lnTo>
                    <a:pt x="21312" y="23904"/>
                  </a:lnTo>
                  <a:lnTo>
                    <a:pt x="17064" y="33048"/>
                  </a:lnTo>
                  <a:lnTo>
                    <a:pt x="21240" y="42192"/>
                  </a:lnTo>
                  <a:lnTo>
                    <a:pt x="23400" y="50544"/>
                  </a:lnTo>
                  <a:lnTo>
                    <a:pt x="31680" y="49896"/>
                  </a:lnTo>
                  <a:lnTo>
                    <a:pt x="31608" y="49752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158" name="Freeform: Shape 106" descr="decorative: Freeform: Shape 106">
              <a:extLst>
                <a:ext uri="{FF2B5EF4-FFF2-40B4-BE49-F238E27FC236}">
                  <a16:creationId xmlns:a16="http://schemas.microsoft.com/office/drawing/2014/main" id="{933E0532-E6E6-C942-E285-82B18E1811A7}"/>
                </a:ext>
              </a:extLst>
            </p:cNvPr>
            <p:cNvSpPr/>
            <p:nvPr/>
          </p:nvSpPr>
          <p:spPr>
            <a:xfrm>
              <a:off x="-442254" y="2266523"/>
              <a:ext cx="36888" cy="52850"/>
            </a:xfrm>
            <a:custGeom>
              <a:avLst/>
              <a:gdLst>
                <a:gd name="connsiteX0" fmla="*/ 1224 w 59400"/>
                <a:gd name="connsiteY0" fmla="*/ 82296 h 85104"/>
                <a:gd name="connsiteX1" fmla="*/ 648 w 59400"/>
                <a:gd name="connsiteY1" fmla="*/ 70848 h 85104"/>
                <a:gd name="connsiteX2" fmla="*/ 15624 w 59400"/>
                <a:gd name="connsiteY2" fmla="*/ 57888 h 85104"/>
                <a:gd name="connsiteX3" fmla="*/ 29808 w 59400"/>
                <a:gd name="connsiteY3" fmla="*/ 44136 h 85104"/>
                <a:gd name="connsiteX4" fmla="*/ 36720 w 59400"/>
                <a:gd name="connsiteY4" fmla="*/ 38304 h 85104"/>
                <a:gd name="connsiteX5" fmla="*/ 39168 w 59400"/>
                <a:gd name="connsiteY5" fmla="*/ 31752 h 85104"/>
                <a:gd name="connsiteX6" fmla="*/ 42768 w 59400"/>
                <a:gd name="connsiteY6" fmla="*/ 26064 h 85104"/>
                <a:gd name="connsiteX7" fmla="*/ 39744 w 59400"/>
                <a:gd name="connsiteY7" fmla="*/ 19728 h 85104"/>
                <a:gd name="connsiteX8" fmla="*/ 34920 w 59400"/>
                <a:gd name="connsiteY8" fmla="*/ 16200 h 85104"/>
                <a:gd name="connsiteX9" fmla="*/ 28656 w 59400"/>
                <a:gd name="connsiteY9" fmla="*/ 13392 h 85104"/>
                <a:gd name="connsiteX10" fmla="*/ 21672 w 59400"/>
                <a:gd name="connsiteY10" fmla="*/ 15192 h 85104"/>
                <a:gd name="connsiteX11" fmla="*/ 16920 w 59400"/>
                <a:gd name="connsiteY11" fmla="*/ 19944 h 85104"/>
                <a:gd name="connsiteX12" fmla="*/ 16200 w 59400"/>
                <a:gd name="connsiteY12" fmla="*/ 26352 h 85104"/>
                <a:gd name="connsiteX13" fmla="*/ 0 w 59400"/>
                <a:gd name="connsiteY13" fmla="*/ 27144 h 85104"/>
                <a:gd name="connsiteX14" fmla="*/ 4680 w 59400"/>
                <a:gd name="connsiteY14" fmla="*/ 13896 h 85104"/>
                <a:gd name="connsiteX15" fmla="*/ 13824 w 59400"/>
                <a:gd name="connsiteY15" fmla="*/ 4320 h 85104"/>
                <a:gd name="connsiteX16" fmla="*/ 28728 w 59400"/>
                <a:gd name="connsiteY16" fmla="*/ 0 h 85104"/>
                <a:gd name="connsiteX17" fmla="*/ 43632 w 59400"/>
                <a:gd name="connsiteY17" fmla="*/ 4680 h 85104"/>
                <a:gd name="connsiteX18" fmla="*/ 54792 w 59400"/>
                <a:gd name="connsiteY18" fmla="*/ 12024 h 85104"/>
                <a:gd name="connsiteX19" fmla="*/ 58032 w 59400"/>
                <a:gd name="connsiteY19" fmla="*/ 24984 h 85104"/>
                <a:gd name="connsiteX20" fmla="*/ 57240 w 59400"/>
                <a:gd name="connsiteY20" fmla="*/ 34632 h 85104"/>
                <a:gd name="connsiteX21" fmla="*/ 49536 w 59400"/>
                <a:gd name="connsiteY21" fmla="*/ 44136 h 85104"/>
                <a:gd name="connsiteX22" fmla="*/ 37296 w 59400"/>
                <a:gd name="connsiteY22" fmla="*/ 58032 h 85104"/>
                <a:gd name="connsiteX23" fmla="*/ 25488 w 59400"/>
                <a:gd name="connsiteY23" fmla="*/ 69696 h 85104"/>
                <a:gd name="connsiteX24" fmla="*/ 24624 w 59400"/>
                <a:gd name="connsiteY24" fmla="*/ 68832 h 85104"/>
                <a:gd name="connsiteX25" fmla="*/ 59400 w 59400"/>
                <a:gd name="connsiteY25" fmla="*/ 68040 h 85104"/>
                <a:gd name="connsiteX26" fmla="*/ 58176 w 59400"/>
                <a:gd name="connsiteY26" fmla="*/ 82152 h 85104"/>
                <a:gd name="connsiteX27" fmla="*/ 29736 w 59400"/>
                <a:gd name="connsiteY27" fmla="*/ 85104 h 85104"/>
                <a:gd name="connsiteX28" fmla="*/ 1152 w 59400"/>
                <a:gd name="connsiteY28" fmla="*/ 82440 h 85104"/>
                <a:gd name="connsiteX29" fmla="*/ 1224 w 59400"/>
                <a:gd name="connsiteY29" fmla="*/ 82296 h 85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9398" h="85104">
                  <a:moveTo>
                    <a:pt x="1224" y="82296"/>
                  </a:moveTo>
                  <a:lnTo>
                    <a:pt x="648" y="70848"/>
                  </a:lnTo>
                  <a:lnTo>
                    <a:pt x="15624" y="57888"/>
                  </a:lnTo>
                  <a:lnTo>
                    <a:pt x="29808" y="44136"/>
                  </a:lnTo>
                  <a:lnTo>
                    <a:pt x="36720" y="38304"/>
                  </a:lnTo>
                  <a:lnTo>
                    <a:pt x="39168" y="31752"/>
                  </a:lnTo>
                  <a:lnTo>
                    <a:pt x="42768" y="26064"/>
                  </a:lnTo>
                  <a:lnTo>
                    <a:pt x="39744" y="19728"/>
                  </a:lnTo>
                  <a:lnTo>
                    <a:pt x="34920" y="16200"/>
                  </a:lnTo>
                  <a:lnTo>
                    <a:pt x="28656" y="13392"/>
                  </a:lnTo>
                  <a:lnTo>
                    <a:pt x="21672" y="15192"/>
                  </a:lnTo>
                  <a:lnTo>
                    <a:pt x="16920" y="19944"/>
                  </a:lnTo>
                  <a:lnTo>
                    <a:pt x="16200" y="26352"/>
                  </a:lnTo>
                  <a:lnTo>
                    <a:pt x="0" y="27144"/>
                  </a:lnTo>
                  <a:lnTo>
                    <a:pt x="4680" y="13896"/>
                  </a:lnTo>
                  <a:lnTo>
                    <a:pt x="13824" y="4320"/>
                  </a:lnTo>
                  <a:lnTo>
                    <a:pt x="28728" y="0"/>
                  </a:lnTo>
                  <a:lnTo>
                    <a:pt x="43632" y="4680"/>
                  </a:lnTo>
                  <a:lnTo>
                    <a:pt x="54792" y="12024"/>
                  </a:lnTo>
                  <a:lnTo>
                    <a:pt x="58032" y="24984"/>
                  </a:lnTo>
                  <a:lnTo>
                    <a:pt x="57240" y="34632"/>
                  </a:lnTo>
                  <a:lnTo>
                    <a:pt x="49536" y="44136"/>
                  </a:lnTo>
                  <a:lnTo>
                    <a:pt x="37296" y="58032"/>
                  </a:lnTo>
                  <a:lnTo>
                    <a:pt x="25488" y="69696"/>
                  </a:lnTo>
                  <a:lnTo>
                    <a:pt x="24624" y="68832"/>
                  </a:lnTo>
                  <a:lnTo>
                    <a:pt x="59400" y="68040"/>
                  </a:lnTo>
                  <a:lnTo>
                    <a:pt x="58176" y="82152"/>
                  </a:lnTo>
                  <a:lnTo>
                    <a:pt x="29736" y="85104"/>
                  </a:lnTo>
                  <a:lnTo>
                    <a:pt x="1152" y="82440"/>
                  </a:lnTo>
                  <a:lnTo>
                    <a:pt x="1224" y="8229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</p:grpSp>
      <p:pic>
        <p:nvPicPr>
          <p:cNvPr id="159" name="Graphic 109">
            <a:extLst>
              <a:ext uri="{FF2B5EF4-FFF2-40B4-BE49-F238E27FC236}">
                <a16:creationId xmlns:a16="http://schemas.microsoft.com/office/drawing/2014/main" id="{B16BF6CE-607C-AB62-7FEB-3538E50936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53335" y="4495286"/>
            <a:ext cx="306455" cy="306455"/>
          </a:xfrm>
          <a:prstGeom prst="rect">
            <a:avLst/>
          </a:prstGeom>
        </p:spPr>
      </p:pic>
      <p:pic>
        <p:nvPicPr>
          <p:cNvPr id="160" name="Graphic 110">
            <a:extLst>
              <a:ext uri="{FF2B5EF4-FFF2-40B4-BE49-F238E27FC236}">
                <a16:creationId xmlns:a16="http://schemas.microsoft.com/office/drawing/2014/main" id="{C1644C31-D051-15BB-43D4-1BA38352331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68523" y="5223729"/>
            <a:ext cx="276078" cy="276078"/>
          </a:xfrm>
          <a:prstGeom prst="rect">
            <a:avLst/>
          </a:prstGeom>
        </p:spPr>
      </p:pic>
      <p:pic>
        <p:nvPicPr>
          <p:cNvPr id="161" name="Graphic 113">
            <a:extLst>
              <a:ext uri="{FF2B5EF4-FFF2-40B4-BE49-F238E27FC236}">
                <a16:creationId xmlns:a16="http://schemas.microsoft.com/office/drawing/2014/main" id="{97C95C90-CAFC-B349-662D-48019BB02AA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53853" y="4142820"/>
            <a:ext cx="329189" cy="329189"/>
          </a:xfrm>
          <a:prstGeom prst="rect">
            <a:avLst/>
          </a:prstGeom>
        </p:spPr>
      </p:pic>
      <p:pic>
        <p:nvPicPr>
          <p:cNvPr id="162" name="Graphic 114">
            <a:extLst>
              <a:ext uri="{FF2B5EF4-FFF2-40B4-BE49-F238E27FC236}">
                <a16:creationId xmlns:a16="http://schemas.microsoft.com/office/drawing/2014/main" id="{32992DE3-7BE3-8116-9FEA-75994808944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58377" y="2895188"/>
            <a:ext cx="320141" cy="320141"/>
          </a:xfrm>
          <a:prstGeom prst="rect">
            <a:avLst/>
          </a:prstGeom>
        </p:spPr>
      </p:pic>
      <p:pic>
        <p:nvPicPr>
          <p:cNvPr id="163" name="Graphic 17">
            <a:extLst>
              <a:ext uri="{FF2B5EF4-FFF2-40B4-BE49-F238E27FC236}">
                <a16:creationId xmlns:a16="http://schemas.microsoft.com/office/drawing/2014/main" id="{9051C0DB-8A11-B43E-6D46-E09DCB99BF1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85522" y="5882580"/>
            <a:ext cx="349732" cy="349732"/>
          </a:xfrm>
          <a:prstGeom prst="rect">
            <a:avLst/>
          </a:prstGeom>
        </p:spPr>
      </p:pic>
      <p:pic>
        <p:nvPicPr>
          <p:cNvPr id="164" name="Graphic 21">
            <a:extLst>
              <a:ext uri="{FF2B5EF4-FFF2-40B4-BE49-F238E27FC236}">
                <a16:creationId xmlns:a16="http://schemas.microsoft.com/office/drawing/2014/main" id="{DB75A4D0-C99C-006B-220B-CB76249EEBD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24138" y="5365261"/>
            <a:ext cx="388619" cy="388619"/>
          </a:xfrm>
          <a:prstGeom prst="rect">
            <a:avLst/>
          </a:prstGeom>
        </p:spPr>
      </p:pic>
      <p:pic>
        <p:nvPicPr>
          <p:cNvPr id="165" name="Graphic 121">
            <a:extLst>
              <a:ext uri="{FF2B5EF4-FFF2-40B4-BE49-F238E27FC236}">
                <a16:creationId xmlns:a16="http://schemas.microsoft.com/office/drawing/2014/main" id="{765FBE00-83B9-4CC8-EC18-A9E995EB616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909703" y="4211089"/>
            <a:ext cx="292945" cy="292945"/>
          </a:xfrm>
          <a:prstGeom prst="rect">
            <a:avLst/>
          </a:prstGeom>
        </p:spPr>
      </p:pic>
      <p:pic>
        <p:nvPicPr>
          <p:cNvPr id="166" name="Graphic 58">
            <a:extLst>
              <a:ext uri="{FF2B5EF4-FFF2-40B4-BE49-F238E27FC236}">
                <a16:creationId xmlns:a16="http://schemas.microsoft.com/office/drawing/2014/main" id="{4534CE31-E650-A4AE-9B78-32D33B6D8C6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900608" y="5555301"/>
            <a:ext cx="378983" cy="378983"/>
          </a:xfrm>
          <a:prstGeom prst="rect">
            <a:avLst/>
          </a:prstGeom>
        </p:spPr>
      </p:pic>
      <p:pic>
        <p:nvPicPr>
          <p:cNvPr id="167" name="Graphic 123">
            <a:extLst>
              <a:ext uri="{FF2B5EF4-FFF2-40B4-BE49-F238E27FC236}">
                <a16:creationId xmlns:a16="http://schemas.microsoft.com/office/drawing/2014/main" id="{B6124240-9770-908B-2F8D-9AB95B88C79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912811" y="3839470"/>
            <a:ext cx="283940" cy="283938"/>
          </a:xfrm>
          <a:prstGeom prst="rect">
            <a:avLst/>
          </a:prstGeom>
        </p:spPr>
      </p:pic>
      <p:pic>
        <p:nvPicPr>
          <p:cNvPr id="168" name="Grafik 167">
            <a:extLst>
              <a:ext uri="{FF2B5EF4-FFF2-40B4-BE49-F238E27FC236}">
                <a16:creationId xmlns:a16="http://schemas.microsoft.com/office/drawing/2014/main" id="{602E1F1F-B6F7-084A-E28A-CFB99D775F7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897653" y="5891636"/>
            <a:ext cx="379025" cy="379025"/>
          </a:xfrm>
          <a:prstGeom prst="rect">
            <a:avLst/>
          </a:prstGeom>
        </p:spPr>
      </p:pic>
      <p:pic>
        <p:nvPicPr>
          <p:cNvPr id="169" name="Grafik 168">
            <a:extLst>
              <a:ext uri="{FF2B5EF4-FFF2-40B4-BE49-F238E27FC236}">
                <a16:creationId xmlns:a16="http://schemas.microsoft.com/office/drawing/2014/main" id="{2FCB4655-67EA-D7F9-EAB0-2C27D334C7F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015904" y="3332410"/>
            <a:ext cx="413966" cy="413966"/>
          </a:xfrm>
          <a:prstGeom prst="rect">
            <a:avLst/>
          </a:prstGeom>
        </p:spPr>
      </p:pic>
      <p:pic>
        <p:nvPicPr>
          <p:cNvPr id="170" name="Grafik 169">
            <a:extLst>
              <a:ext uri="{FF2B5EF4-FFF2-40B4-BE49-F238E27FC236}">
                <a16:creationId xmlns:a16="http://schemas.microsoft.com/office/drawing/2014/main" id="{0278B451-873C-118B-E5BD-BB02ACE4687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99838" y="4547522"/>
            <a:ext cx="465572" cy="465572"/>
          </a:xfrm>
          <a:prstGeom prst="rect">
            <a:avLst/>
          </a:prstGeom>
        </p:spPr>
      </p:pic>
      <p:pic>
        <p:nvPicPr>
          <p:cNvPr id="171" name="Grafik 170">
            <a:extLst>
              <a:ext uri="{FF2B5EF4-FFF2-40B4-BE49-F238E27FC236}">
                <a16:creationId xmlns:a16="http://schemas.microsoft.com/office/drawing/2014/main" id="{6FCDE867-3D2A-3C60-AE54-944A52C923F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870313" y="4545066"/>
            <a:ext cx="368937" cy="368937"/>
          </a:xfrm>
          <a:prstGeom prst="rect">
            <a:avLst/>
          </a:prstGeom>
        </p:spPr>
      </p:pic>
      <p:pic>
        <p:nvPicPr>
          <p:cNvPr id="172" name="Grafik 171">
            <a:extLst>
              <a:ext uri="{FF2B5EF4-FFF2-40B4-BE49-F238E27FC236}">
                <a16:creationId xmlns:a16="http://schemas.microsoft.com/office/drawing/2014/main" id="{2DE95279-83D6-63EF-195E-A57FF15DE63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915395" y="5957352"/>
            <a:ext cx="353139" cy="353139"/>
          </a:xfrm>
          <a:prstGeom prst="rect">
            <a:avLst/>
          </a:prstGeom>
        </p:spPr>
      </p:pic>
      <p:pic>
        <p:nvPicPr>
          <p:cNvPr id="173" name="Grafik 172">
            <a:extLst>
              <a:ext uri="{FF2B5EF4-FFF2-40B4-BE49-F238E27FC236}">
                <a16:creationId xmlns:a16="http://schemas.microsoft.com/office/drawing/2014/main" id="{4C69FA78-5382-DF54-6771-7EA9BCBD726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887089" y="3188751"/>
            <a:ext cx="338172" cy="338172"/>
          </a:xfrm>
          <a:prstGeom prst="rect">
            <a:avLst/>
          </a:prstGeom>
        </p:spPr>
      </p:pic>
      <p:pic>
        <p:nvPicPr>
          <p:cNvPr id="174" name="Grafik 173">
            <a:extLst>
              <a:ext uri="{FF2B5EF4-FFF2-40B4-BE49-F238E27FC236}">
                <a16:creationId xmlns:a16="http://schemas.microsoft.com/office/drawing/2014/main" id="{FE8D20DB-2754-461B-D189-65964F0E61E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897139" y="5174042"/>
            <a:ext cx="393176" cy="393176"/>
          </a:xfrm>
          <a:prstGeom prst="rect">
            <a:avLst/>
          </a:prstGeom>
        </p:spPr>
      </p:pic>
      <p:pic>
        <p:nvPicPr>
          <p:cNvPr id="175" name="Grafik 174">
            <a:extLst>
              <a:ext uri="{FF2B5EF4-FFF2-40B4-BE49-F238E27FC236}">
                <a16:creationId xmlns:a16="http://schemas.microsoft.com/office/drawing/2014/main" id="{A5C6011B-73BB-0D9E-8284-E2191E5017C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887089" y="2808588"/>
            <a:ext cx="336658" cy="3366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73695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EB8771-9F68-3822-7633-80E54CD7B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10" descr="decorative: Title 10">
            <a:extLst>
              <a:ext uri="{FF2B5EF4-FFF2-40B4-BE49-F238E27FC236}">
                <a16:creationId xmlns:a16="http://schemas.microsoft.com/office/drawing/2014/main" id="{C5514AE3-D34B-5FB2-A248-BA006F1E0E05}"/>
              </a:ext>
            </a:extLst>
          </p:cNvPr>
          <p:cNvSpPr txBox="1">
            <a:spLocks/>
          </p:cNvSpPr>
          <p:nvPr/>
        </p:nvSpPr>
        <p:spPr>
          <a:xfrm>
            <a:off x="360000" y="371471"/>
            <a:ext cx="11472000" cy="585533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ålepunkter for miljø og klima</a:t>
            </a:r>
            <a:endParaRPr lang="da-DK" sz="1400" dirty="0">
              <a:solidFill>
                <a:srgbClr val="0059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1" name="Text Placeholder 24" descr="decorative: Text Placeholder 24">
            <a:extLst>
              <a:ext uri="{FF2B5EF4-FFF2-40B4-BE49-F238E27FC236}">
                <a16:creationId xmlns:a16="http://schemas.microsoft.com/office/drawing/2014/main" id="{A5B004E7-9962-3C1E-A8F2-74926D172344}"/>
              </a:ext>
            </a:extLst>
          </p:cNvPr>
          <p:cNvSpPr txBox="1">
            <a:spLocks/>
          </p:cNvSpPr>
          <p:nvPr/>
        </p:nvSpPr>
        <p:spPr>
          <a:xfrm>
            <a:off x="348839" y="1078674"/>
            <a:ext cx="2746786" cy="442117"/>
          </a:xfrm>
          <a:prstGeom prst="rect">
            <a:avLst/>
          </a:prstGeom>
        </p:spPr>
        <p:txBody>
          <a:bodyPr>
            <a:no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2600" dirty="0"/>
              <a:t>Uden baggrund</a:t>
            </a:r>
          </a:p>
        </p:txBody>
      </p:sp>
      <p:sp>
        <p:nvSpPr>
          <p:cNvPr id="52" name="Text Placeholder 24" descr="decorative: Text Placeholder 24">
            <a:extLst>
              <a:ext uri="{FF2B5EF4-FFF2-40B4-BE49-F238E27FC236}">
                <a16:creationId xmlns:a16="http://schemas.microsoft.com/office/drawing/2014/main" id="{FFC40CD2-95D5-447F-C8A5-414CEBB67F28}"/>
              </a:ext>
            </a:extLst>
          </p:cNvPr>
          <p:cNvSpPr txBox="1">
            <a:spLocks/>
          </p:cNvSpPr>
          <p:nvPr/>
        </p:nvSpPr>
        <p:spPr>
          <a:xfrm>
            <a:off x="6624149" y="1078674"/>
            <a:ext cx="2605575" cy="442117"/>
          </a:xfrm>
          <a:prstGeom prst="rect">
            <a:avLst/>
          </a:prstGeom>
        </p:spPr>
        <p:txBody>
          <a:bodyPr>
            <a:no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2600" dirty="0"/>
              <a:t>Med baggrund</a:t>
            </a:r>
          </a:p>
        </p:txBody>
      </p:sp>
      <p:sp>
        <p:nvSpPr>
          <p:cNvPr id="69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B81B2FCC-1127-7B5B-95A5-76D919A4397A}"/>
              </a:ext>
            </a:extLst>
          </p:cNvPr>
          <p:cNvSpPr/>
          <p:nvPr/>
        </p:nvSpPr>
        <p:spPr>
          <a:xfrm>
            <a:off x="500283" y="3338056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Klimaaftryk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0059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0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95C703D7-B224-FA9F-4816-6083F0A6DD2E}"/>
              </a:ext>
            </a:extLst>
          </p:cNvPr>
          <p:cNvSpPr/>
          <p:nvPr/>
        </p:nvSpPr>
        <p:spPr>
          <a:xfrm>
            <a:off x="2536386" y="3338056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Energiforbrug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0059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1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FE9A37C9-50AB-D725-F4C1-C9F1AD099D99}"/>
              </a:ext>
            </a:extLst>
          </p:cNvPr>
          <p:cNvSpPr/>
          <p:nvPr/>
        </p:nvSpPr>
        <p:spPr>
          <a:xfrm>
            <a:off x="4578912" y="3338056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Energimærkning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0059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2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55F81F7C-9D95-09C1-3AB6-D9CF1D65E464}"/>
              </a:ext>
            </a:extLst>
          </p:cNvPr>
          <p:cNvSpPr/>
          <p:nvPr/>
        </p:nvSpPr>
        <p:spPr>
          <a:xfrm>
            <a:off x="500283" y="5129964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årbarhed for klimaændringer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0059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3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062852A2-4048-323D-12F3-9DA454217389}"/>
              </a:ext>
            </a:extLst>
          </p:cNvPr>
          <p:cNvSpPr/>
          <p:nvPr/>
        </p:nvSpPr>
        <p:spPr>
          <a:xfrm>
            <a:off x="2536386" y="5129964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Biodiversitet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0059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4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A77021C7-CC20-7B3D-8801-A09E7814ADF7}"/>
              </a:ext>
            </a:extLst>
          </p:cNvPr>
          <p:cNvSpPr/>
          <p:nvPr/>
        </p:nvSpPr>
        <p:spPr>
          <a:xfrm>
            <a:off x="4578912" y="5129964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ffald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0059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42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0E9221A0-FB70-1053-2D41-5CCEA337E8B3}"/>
              </a:ext>
            </a:extLst>
          </p:cNvPr>
          <p:cNvSpPr/>
          <p:nvPr/>
        </p:nvSpPr>
        <p:spPr>
          <a:xfrm>
            <a:off x="6677462" y="3338056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lvl="0" algn="ctr" defTabSz="914309">
              <a:spcBef>
                <a:spcPct val="0"/>
              </a:spcBef>
              <a:spcAft>
                <a:spcPct val="0"/>
              </a:spcAft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Klimaaftryk</a:t>
            </a:r>
          </a:p>
        </p:txBody>
      </p:sp>
      <p:sp>
        <p:nvSpPr>
          <p:cNvPr id="44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5240BDA6-AE68-35B9-06EB-F6C67B002951}"/>
              </a:ext>
            </a:extLst>
          </p:cNvPr>
          <p:cNvSpPr/>
          <p:nvPr/>
        </p:nvSpPr>
        <p:spPr>
          <a:xfrm>
            <a:off x="8713565" y="3338056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lvl="0" algn="ctr" defTabSz="914309">
              <a:spcBef>
                <a:spcPct val="0"/>
              </a:spcBef>
              <a:spcAft>
                <a:spcPct val="0"/>
              </a:spcAft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Energiforbrug</a:t>
            </a:r>
          </a:p>
        </p:txBody>
      </p:sp>
      <p:sp>
        <p:nvSpPr>
          <p:cNvPr id="46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08A254DA-D3E0-5ECB-69B9-22396C419FD1}"/>
              </a:ext>
            </a:extLst>
          </p:cNvPr>
          <p:cNvSpPr/>
          <p:nvPr/>
        </p:nvSpPr>
        <p:spPr>
          <a:xfrm>
            <a:off x="10756091" y="3338056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lvl="0" algn="ctr" defTabSz="914309">
              <a:spcBef>
                <a:spcPct val="0"/>
              </a:spcBef>
              <a:spcAft>
                <a:spcPct val="0"/>
              </a:spcAft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Energimærkning</a:t>
            </a:r>
          </a:p>
        </p:txBody>
      </p:sp>
      <p:sp>
        <p:nvSpPr>
          <p:cNvPr id="48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EDB8E895-6BD2-53F9-04B9-D37526A38D53}"/>
              </a:ext>
            </a:extLst>
          </p:cNvPr>
          <p:cNvSpPr/>
          <p:nvPr/>
        </p:nvSpPr>
        <p:spPr>
          <a:xfrm>
            <a:off x="6677462" y="5129964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lvl="0" algn="ctr" defTabSz="914309">
              <a:spcBef>
                <a:spcPct val="0"/>
              </a:spcBef>
              <a:spcAft>
                <a:spcPct val="0"/>
              </a:spcAft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årbarhed for klimaændringer</a:t>
            </a:r>
          </a:p>
        </p:txBody>
      </p:sp>
      <p:sp>
        <p:nvSpPr>
          <p:cNvPr id="53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2F493CE4-EDFE-FC28-75E7-F98F22A18C73}"/>
              </a:ext>
            </a:extLst>
          </p:cNvPr>
          <p:cNvSpPr/>
          <p:nvPr/>
        </p:nvSpPr>
        <p:spPr>
          <a:xfrm>
            <a:off x="8713565" y="5129964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lvl="0" algn="ctr" defTabSz="914309">
              <a:spcBef>
                <a:spcPct val="0"/>
              </a:spcBef>
              <a:spcAft>
                <a:spcPct val="0"/>
              </a:spcAft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Biodiversitet</a:t>
            </a:r>
          </a:p>
        </p:txBody>
      </p:sp>
      <p:sp>
        <p:nvSpPr>
          <p:cNvPr id="55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8F4A0485-51D6-54CC-04EF-D98F08F3BF35}"/>
              </a:ext>
            </a:extLst>
          </p:cNvPr>
          <p:cNvSpPr/>
          <p:nvPr/>
        </p:nvSpPr>
        <p:spPr>
          <a:xfrm>
            <a:off x="10756091" y="5129964"/>
            <a:ext cx="1128135" cy="25570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ffald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0059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pic>
        <p:nvPicPr>
          <p:cNvPr id="3" name="Billede 2" descr="Et billede, der indeholder Grafik, tegning, clipart, kunst&#10;&#10;AI-genereret indhold kan være ukorrekt.">
            <a:extLst>
              <a:ext uri="{FF2B5EF4-FFF2-40B4-BE49-F238E27FC236}">
                <a16:creationId xmlns:a16="http://schemas.microsoft.com/office/drawing/2014/main" id="{9C856F18-8791-A706-C38F-A6A1967B40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275" y="2169852"/>
            <a:ext cx="1173540" cy="1046534"/>
          </a:xfrm>
          <a:prstGeom prst="rect">
            <a:avLst/>
          </a:prstGeom>
        </p:spPr>
      </p:pic>
      <p:pic>
        <p:nvPicPr>
          <p:cNvPr id="5" name="Billede 4" descr="Et billede, der indeholder cirkel, Grafik, symbol, clipart&#10;&#10;AI-genereret indhold kan være ukorrekt.">
            <a:extLst>
              <a:ext uri="{FF2B5EF4-FFF2-40B4-BE49-F238E27FC236}">
                <a16:creationId xmlns:a16="http://schemas.microsoft.com/office/drawing/2014/main" id="{400F77AB-9D43-5656-1DB6-7ECDDAFD7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445" y="2043436"/>
            <a:ext cx="1209102" cy="1209102"/>
          </a:xfrm>
          <a:prstGeom prst="rect">
            <a:avLst/>
          </a:prstGeom>
        </p:spPr>
      </p:pic>
      <p:pic>
        <p:nvPicPr>
          <p:cNvPr id="7" name="Billede 6" descr="Et billede, der indeholder Grafik, kunst, symbol, design&#10;&#10;AI-genereret indhold kan være ukorrekt.">
            <a:extLst>
              <a:ext uri="{FF2B5EF4-FFF2-40B4-BE49-F238E27FC236}">
                <a16:creationId xmlns:a16="http://schemas.microsoft.com/office/drawing/2014/main" id="{6CF52A27-FD96-41B8-1754-B8D08105F7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0058" y="1979710"/>
            <a:ext cx="1111942" cy="1252285"/>
          </a:xfrm>
          <a:prstGeom prst="rect">
            <a:avLst/>
          </a:prstGeom>
        </p:spPr>
      </p:pic>
      <p:pic>
        <p:nvPicPr>
          <p:cNvPr id="9" name="Billede 8" descr="Et billede, der indeholder symbol, Grafik, design, kunst&#10;&#10;AI-genereret indhold kan være ukorrekt.">
            <a:extLst>
              <a:ext uri="{FF2B5EF4-FFF2-40B4-BE49-F238E27FC236}">
                <a16:creationId xmlns:a16="http://schemas.microsoft.com/office/drawing/2014/main" id="{6E1C7525-F2C5-F4AD-35DC-A5791F687C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074" y="3835343"/>
            <a:ext cx="1111942" cy="1246886"/>
          </a:xfrm>
          <a:prstGeom prst="rect">
            <a:avLst/>
          </a:prstGeom>
        </p:spPr>
      </p:pic>
      <p:pic>
        <p:nvPicPr>
          <p:cNvPr id="11" name="Billede 10" descr="Et billede, der indeholder Grafik, kunst, tegning, grafisk design&#10;&#10;AI-genereret indhold kan være ukorrekt.">
            <a:extLst>
              <a:ext uri="{FF2B5EF4-FFF2-40B4-BE49-F238E27FC236}">
                <a16:creationId xmlns:a16="http://schemas.microsoft.com/office/drawing/2014/main" id="{0D5FE552-5A93-4434-3BC4-269C1EB66F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7540" y="3835344"/>
            <a:ext cx="1187511" cy="1209102"/>
          </a:xfrm>
          <a:prstGeom prst="rect">
            <a:avLst/>
          </a:prstGeom>
        </p:spPr>
      </p:pic>
      <p:pic>
        <p:nvPicPr>
          <p:cNvPr id="13" name="Billede 12" descr="Et billede, der indeholder tegning, Grafik, kunst, clipart&#10;&#10;AI-genereret indhold kan være ukorrekt.">
            <a:extLst>
              <a:ext uri="{FF2B5EF4-FFF2-40B4-BE49-F238E27FC236}">
                <a16:creationId xmlns:a16="http://schemas.microsoft.com/office/drawing/2014/main" id="{CE7A177A-EE39-1A99-27B4-0111CDDC58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435" y="3784064"/>
            <a:ext cx="1349445" cy="1349445"/>
          </a:xfrm>
          <a:prstGeom prst="rect">
            <a:avLst/>
          </a:prstGeom>
        </p:spPr>
      </p:pic>
      <p:pic>
        <p:nvPicPr>
          <p:cNvPr id="15" name="Billede 14" descr="Et billede, der indeholder Grafik, kunst, Font/skrifttype, symbol&#10;&#10;AI-genereret indhold kan være ukorrekt.">
            <a:extLst>
              <a:ext uri="{FF2B5EF4-FFF2-40B4-BE49-F238E27FC236}">
                <a16:creationId xmlns:a16="http://schemas.microsoft.com/office/drawing/2014/main" id="{39939B71-564C-F284-A404-6F2B7A4E48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58" y="2227994"/>
            <a:ext cx="1168460" cy="975410"/>
          </a:xfrm>
          <a:prstGeom prst="rect">
            <a:avLst/>
          </a:prstGeom>
        </p:spPr>
      </p:pic>
      <p:pic>
        <p:nvPicPr>
          <p:cNvPr id="17" name="Billede 16" descr="Et billede, der indeholder Grafik, cirkel, symbol, Font/skrifttype&#10;&#10;AI-genereret indhold kan være ukorrekt.">
            <a:extLst>
              <a:ext uri="{FF2B5EF4-FFF2-40B4-BE49-F238E27FC236}">
                <a16:creationId xmlns:a16="http://schemas.microsoft.com/office/drawing/2014/main" id="{140CCBA1-12A8-C5B0-4B7A-B4A95DAFCD5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5590" y="2043436"/>
            <a:ext cx="1209102" cy="1209102"/>
          </a:xfrm>
          <a:prstGeom prst="rect">
            <a:avLst/>
          </a:prstGeom>
        </p:spPr>
      </p:pic>
      <p:pic>
        <p:nvPicPr>
          <p:cNvPr id="19" name="Billede 18" descr="Et billede, der indeholder Grafik, kunst, Font/skrifttype, design&#10;&#10;AI-genereret indhold kan være ukorrekt.">
            <a:extLst>
              <a:ext uri="{FF2B5EF4-FFF2-40B4-BE49-F238E27FC236}">
                <a16:creationId xmlns:a16="http://schemas.microsoft.com/office/drawing/2014/main" id="{A8CB8B63-E3E6-85BC-D68A-41D57DA1A0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428" y="1979711"/>
            <a:ext cx="1063362" cy="1252285"/>
          </a:xfrm>
          <a:prstGeom prst="rect">
            <a:avLst/>
          </a:prstGeom>
        </p:spPr>
      </p:pic>
      <p:pic>
        <p:nvPicPr>
          <p:cNvPr id="22" name="Billede 21" descr="Et billede, der indeholder Børnekunst, tegning, skitse, kunst&#10;&#10;AI-genereret indhold kan være ukorrekt.">
            <a:extLst>
              <a:ext uri="{FF2B5EF4-FFF2-40B4-BE49-F238E27FC236}">
                <a16:creationId xmlns:a16="http://schemas.microsoft.com/office/drawing/2014/main" id="{6CEBE92F-416F-5712-7D81-6D42905ADC1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8" y="3835344"/>
            <a:ext cx="1057964" cy="1246886"/>
          </a:xfrm>
          <a:prstGeom prst="rect">
            <a:avLst/>
          </a:prstGeom>
        </p:spPr>
      </p:pic>
      <p:pic>
        <p:nvPicPr>
          <p:cNvPr id="30" name="Billede 29" descr="Et billede, der indeholder Grafik, Font/skrifttype, kunst&#10;&#10;AI-genereret indhold kan være ukorrekt.">
            <a:extLst>
              <a:ext uri="{FF2B5EF4-FFF2-40B4-BE49-F238E27FC236}">
                <a16:creationId xmlns:a16="http://schemas.microsoft.com/office/drawing/2014/main" id="{0C2B656E-31A1-3E67-55E7-D3A1D67E5B4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6386" y="3835344"/>
            <a:ext cx="1187511" cy="1209102"/>
          </a:xfrm>
          <a:prstGeom prst="rect">
            <a:avLst/>
          </a:prstGeom>
        </p:spPr>
      </p:pic>
      <p:pic>
        <p:nvPicPr>
          <p:cNvPr id="35" name="Billede 34" descr="Et billede, der indeholder Grafik, Font/skrifttype, kunst, design&#10;&#10;AI-genereret indhold kan være ukorrekt.">
            <a:extLst>
              <a:ext uri="{FF2B5EF4-FFF2-40B4-BE49-F238E27FC236}">
                <a16:creationId xmlns:a16="http://schemas.microsoft.com/office/drawing/2014/main" id="{716EBB11-CBEF-88AA-2C1E-BADA4D73164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5558" y="3809944"/>
            <a:ext cx="1354842" cy="1349445"/>
          </a:xfrm>
          <a:prstGeom prst="rect">
            <a:avLst/>
          </a:prstGeom>
        </p:spPr>
      </p:pic>
      <p:sp>
        <p:nvSpPr>
          <p:cNvPr id="2" name="Title 10" descr="decorative: Title 10">
            <a:extLst>
              <a:ext uri="{FF2B5EF4-FFF2-40B4-BE49-F238E27FC236}">
                <a16:creationId xmlns:a16="http://schemas.microsoft.com/office/drawing/2014/main" id="{007B80C8-3C80-94C8-95EF-18CE9E645B7E}"/>
              </a:ext>
            </a:extLst>
          </p:cNvPr>
          <p:cNvSpPr txBox="1">
            <a:spLocks/>
          </p:cNvSpPr>
          <p:nvPr/>
        </p:nvSpPr>
        <p:spPr>
          <a:xfrm>
            <a:off x="9582150" y="377206"/>
            <a:ext cx="2249850" cy="579798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a-DK" sz="1400" dirty="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kopier eller højreklik og gem som billede)</a:t>
            </a:r>
          </a:p>
        </p:txBody>
      </p:sp>
    </p:spTree>
    <p:extLst>
      <p:ext uri="{BB962C8B-B14F-4D97-AF65-F5344CB8AC3E}">
        <p14:creationId xmlns:p14="http://schemas.microsoft.com/office/powerpoint/2010/main" val="21386041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2E45AE-C17F-F0A8-7502-1FACA35C8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Billede 34" descr="Et billede, der indeholder Grafik, symbol, cirkel, kunst&#10;&#10;AI-genereret indhold kan være ukorrekt.">
            <a:extLst>
              <a:ext uri="{FF2B5EF4-FFF2-40B4-BE49-F238E27FC236}">
                <a16:creationId xmlns:a16="http://schemas.microsoft.com/office/drawing/2014/main" id="{31D7AEBA-8101-4B80-DF7F-33C624DA75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384" y="1526013"/>
            <a:ext cx="1354842" cy="1354842"/>
          </a:xfrm>
          <a:prstGeom prst="rect">
            <a:avLst/>
          </a:prstGeom>
        </p:spPr>
      </p:pic>
      <p:pic>
        <p:nvPicPr>
          <p:cNvPr id="37" name="Billede 36" descr="Et billede, der indeholder Grafik, clipart, design&#10;&#10;AI-genereret indhold kan være ukorrekt.">
            <a:extLst>
              <a:ext uri="{FF2B5EF4-FFF2-40B4-BE49-F238E27FC236}">
                <a16:creationId xmlns:a16="http://schemas.microsoft.com/office/drawing/2014/main" id="{39FA97B5-205B-DA1A-9694-CD1E3FC048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6460" y="1514238"/>
            <a:ext cx="1354842" cy="1349445"/>
          </a:xfrm>
          <a:prstGeom prst="rect">
            <a:avLst/>
          </a:prstGeom>
        </p:spPr>
      </p:pic>
      <p:pic>
        <p:nvPicPr>
          <p:cNvPr id="39" name="Billede 38" descr="Et billede, der indeholder Grafik, kunst, Font/skrifttype, design&#10;&#10;AI-genereret indhold kan være ukorrekt.">
            <a:extLst>
              <a:ext uri="{FF2B5EF4-FFF2-40B4-BE49-F238E27FC236}">
                <a16:creationId xmlns:a16="http://schemas.microsoft.com/office/drawing/2014/main" id="{384ABF05-960F-ACCF-1B00-3C8BA1C90A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537" y="1759798"/>
            <a:ext cx="1246886" cy="976998"/>
          </a:xfrm>
          <a:prstGeom prst="rect">
            <a:avLst/>
          </a:prstGeom>
        </p:spPr>
      </p:pic>
      <p:pic>
        <p:nvPicPr>
          <p:cNvPr id="41" name="Billede 40" descr="Et billede, der indeholder symbol, clipart, Grafik, design&#10;&#10;AI-genereret indhold kan være ukorrekt.">
            <a:extLst>
              <a:ext uri="{FF2B5EF4-FFF2-40B4-BE49-F238E27FC236}">
                <a16:creationId xmlns:a16="http://schemas.microsoft.com/office/drawing/2014/main" id="{E09111AC-9A12-9E3C-D0E3-1AEE60C603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737" y="3283809"/>
            <a:ext cx="1128135" cy="1171318"/>
          </a:xfrm>
          <a:prstGeom prst="rect">
            <a:avLst/>
          </a:prstGeom>
        </p:spPr>
      </p:pic>
      <p:pic>
        <p:nvPicPr>
          <p:cNvPr id="43" name="Billede 42" descr="Et billede, der indeholder kunst, Grafik, Børnekunst, rød&#10;&#10;AI-genereret indhold kan være ukorrekt.">
            <a:extLst>
              <a:ext uri="{FF2B5EF4-FFF2-40B4-BE49-F238E27FC236}">
                <a16:creationId xmlns:a16="http://schemas.microsoft.com/office/drawing/2014/main" id="{2F1DD152-9141-2D58-3BED-48BDAD92C7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6460" y="3136559"/>
            <a:ext cx="1354842" cy="1349445"/>
          </a:xfrm>
          <a:prstGeom prst="rect">
            <a:avLst/>
          </a:prstGeom>
        </p:spPr>
      </p:pic>
      <p:pic>
        <p:nvPicPr>
          <p:cNvPr id="45" name="Billede 44" descr="Et billede, der indeholder Grafik&#10;&#10;AI-genereret indhold kan være ukorrekt.">
            <a:extLst>
              <a:ext uri="{FF2B5EF4-FFF2-40B4-BE49-F238E27FC236}">
                <a16:creationId xmlns:a16="http://schemas.microsoft.com/office/drawing/2014/main" id="{273F296D-07BB-A2C6-EF5B-19B14C5741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6336" y="4860506"/>
            <a:ext cx="1354842" cy="1349445"/>
          </a:xfrm>
          <a:prstGeom prst="rect">
            <a:avLst/>
          </a:prstGeom>
        </p:spPr>
      </p:pic>
      <p:pic>
        <p:nvPicPr>
          <p:cNvPr id="47" name="Billede 46" descr="Et billede, der indeholder Font/skrifttype, Grafik, design, typografi&#10;&#10;AI-genereret indhold kan være ukorrekt.">
            <a:extLst>
              <a:ext uri="{FF2B5EF4-FFF2-40B4-BE49-F238E27FC236}">
                <a16:creationId xmlns:a16="http://schemas.microsoft.com/office/drawing/2014/main" id="{C5F408AC-8CE8-E251-0431-BE429EEA0C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229" y="4799965"/>
            <a:ext cx="1434539" cy="1428824"/>
          </a:xfrm>
          <a:prstGeom prst="rect">
            <a:avLst/>
          </a:prstGeom>
        </p:spPr>
      </p:pic>
      <p:pic>
        <p:nvPicPr>
          <p:cNvPr id="49" name="Billede 48" descr="Et billede, der indeholder symbol&#10;&#10;AI-genereret indhold kan være ukorrekt.">
            <a:extLst>
              <a:ext uri="{FF2B5EF4-FFF2-40B4-BE49-F238E27FC236}">
                <a16:creationId xmlns:a16="http://schemas.microsoft.com/office/drawing/2014/main" id="{B5C1B400-C079-CAA3-494C-CE47A586B7E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537" y="3438425"/>
            <a:ext cx="1246886" cy="917622"/>
          </a:xfrm>
          <a:prstGeom prst="rect">
            <a:avLst/>
          </a:prstGeom>
        </p:spPr>
      </p:pic>
      <p:sp>
        <p:nvSpPr>
          <p:cNvPr id="50" name="Title 10" descr="decorative: Title 10">
            <a:extLst>
              <a:ext uri="{FF2B5EF4-FFF2-40B4-BE49-F238E27FC236}">
                <a16:creationId xmlns:a16="http://schemas.microsoft.com/office/drawing/2014/main" id="{4EFA95B4-5EFE-A0E8-889C-319CA3C68CFF}"/>
              </a:ext>
            </a:extLst>
          </p:cNvPr>
          <p:cNvSpPr txBox="1">
            <a:spLocks/>
          </p:cNvSpPr>
          <p:nvPr/>
        </p:nvSpPr>
        <p:spPr>
          <a:xfrm>
            <a:off x="360000" y="371471"/>
            <a:ext cx="11472000" cy="585533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ålepunkter for social</a:t>
            </a:r>
            <a:endParaRPr lang="da-DK" sz="14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1" name="Text Placeholder 24" descr="decorative: Text Placeholder 24">
            <a:extLst>
              <a:ext uri="{FF2B5EF4-FFF2-40B4-BE49-F238E27FC236}">
                <a16:creationId xmlns:a16="http://schemas.microsoft.com/office/drawing/2014/main" id="{3BFA967B-9BEE-7BC2-BB7B-8E51FBE10991}"/>
              </a:ext>
            </a:extLst>
          </p:cNvPr>
          <p:cNvSpPr txBox="1">
            <a:spLocks/>
          </p:cNvSpPr>
          <p:nvPr/>
        </p:nvSpPr>
        <p:spPr>
          <a:xfrm>
            <a:off x="348838" y="1078674"/>
            <a:ext cx="2794411" cy="442117"/>
          </a:xfrm>
          <a:prstGeom prst="rect">
            <a:avLst/>
          </a:prstGeom>
        </p:spPr>
        <p:txBody>
          <a:bodyPr>
            <a:no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2600" dirty="0"/>
              <a:t>Uden baggrund</a:t>
            </a:r>
          </a:p>
        </p:txBody>
      </p:sp>
      <p:sp>
        <p:nvSpPr>
          <p:cNvPr id="52" name="Text Placeholder 24" descr="decorative: Text Placeholder 24">
            <a:extLst>
              <a:ext uri="{FF2B5EF4-FFF2-40B4-BE49-F238E27FC236}">
                <a16:creationId xmlns:a16="http://schemas.microsoft.com/office/drawing/2014/main" id="{53CC83FA-381D-F7B2-8E4B-D50F31E8DBD0}"/>
              </a:ext>
            </a:extLst>
          </p:cNvPr>
          <p:cNvSpPr txBox="1">
            <a:spLocks/>
          </p:cNvSpPr>
          <p:nvPr/>
        </p:nvSpPr>
        <p:spPr>
          <a:xfrm>
            <a:off x="6624149" y="1078674"/>
            <a:ext cx="2794411" cy="442117"/>
          </a:xfrm>
          <a:prstGeom prst="rect">
            <a:avLst/>
          </a:prstGeom>
        </p:spPr>
        <p:txBody>
          <a:bodyPr>
            <a:no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2600" dirty="0"/>
              <a:t>Med baggrund</a:t>
            </a:r>
          </a:p>
        </p:txBody>
      </p:sp>
      <p:pic>
        <p:nvPicPr>
          <p:cNvPr id="54" name="Billede 53" descr="Et billede, der indeholder clipart, tegning, kunst&#10;&#10;AI-genereret indhold kan være ukorrekt.">
            <a:extLst>
              <a:ext uri="{FF2B5EF4-FFF2-40B4-BE49-F238E27FC236}">
                <a16:creationId xmlns:a16="http://schemas.microsoft.com/office/drawing/2014/main" id="{3C40C4F2-F31E-6A38-FC27-D09AA44D585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603" y="3438425"/>
            <a:ext cx="1246886" cy="939213"/>
          </a:xfrm>
          <a:prstGeom prst="rect">
            <a:avLst/>
          </a:prstGeom>
        </p:spPr>
      </p:pic>
      <p:pic>
        <p:nvPicPr>
          <p:cNvPr id="56" name="Billede 55" descr="Et billede, der indeholder cirkel, Grafik, design&#10;&#10;AI-genereret indhold kan være ukorrekt.">
            <a:extLst>
              <a:ext uri="{FF2B5EF4-FFF2-40B4-BE49-F238E27FC236}">
                <a16:creationId xmlns:a16="http://schemas.microsoft.com/office/drawing/2014/main" id="{77936B0A-4A6D-6016-D112-07076094191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694" y="1511905"/>
            <a:ext cx="1349445" cy="1354842"/>
          </a:xfrm>
          <a:prstGeom prst="rect">
            <a:avLst/>
          </a:prstGeom>
        </p:spPr>
      </p:pic>
      <p:pic>
        <p:nvPicPr>
          <p:cNvPr id="58" name="Billede 57" descr="Et billede, der indeholder clipart, hjerte, design, kunst&#10;&#10;AI-genereret indhold kan være ukorrekt.">
            <a:extLst>
              <a:ext uri="{FF2B5EF4-FFF2-40B4-BE49-F238E27FC236}">
                <a16:creationId xmlns:a16="http://schemas.microsoft.com/office/drawing/2014/main" id="{DA77EB29-9B3B-A6E2-F59E-ECDCAC34A8E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8099" y="1531410"/>
            <a:ext cx="1349445" cy="1349445"/>
          </a:xfrm>
          <a:prstGeom prst="rect">
            <a:avLst/>
          </a:prstGeom>
        </p:spPr>
      </p:pic>
      <p:pic>
        <p:nvPicPr>
          <p:cNvPr id="60" name="Billede 59" descr="Et billede, der indeholder Grafik, clipart, kunst, design&#10;&#10;AI-genereret indhold kan være ukorrekt.">
            <a:extLst>
              <a:ext uri="{FF2B5EF4-FFF2-40B4-BE49-F238E27FC236}">
                <a16:creationId xmlns:a16="http://schemas.microsoft.com/office/drawing/2014/main" id="{D0588200-DEA5-9BBE-284F-5DE52DB5C21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603" y="1767629"/>
            <a:ext cx="1246886" cy="976998"/>
          </a:xfrm>
          <a:prstGeom prst="rect">
            <a:avLst/>
          </a:prstGeom>
        </p:spPr>
      </p:pic>
      <p:pic>
        <p:nvPicPr>
          <p:cNvPr id="62" name="Billede 61" descr="Et billede, der indeholder cirkel, Grafik, symbol, design&#10;&#10;AI-genereret indhold kan være ukorrekt.">
            <a:extLst>
              <a:ext uri="{FF2B5EF4-FFF2-40B4-BE49-F238E27FC236}">
                <a16:creationId xmlns:a16="http://schemas.microsoft.com/office/drawing/2014/main" id="{AE7FDD6B-C88B-1157-605C-84A1AF08ABF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4348" y="3300146"/>
            <a:ext cx="1128135" cy="1171318"/>
          </a:xfrm>
          <a:prstGeom prst="rect">
            <a:avLst/>
          </a:prstGeom>
        </p:spPr>
      </p:pic>
      <p:pic>
        <p:nvPicPr>
          <p:cNvPr id="64" name="Billede 63" descr="Et billede, der indeholder Grafik, cirkel, grafisk design, design&#10;&#10;AI-genereret indhold kan være ukorrekt.">
            <a:extLst>
              <a:ext uri="{FF2B5EF4-FFF2-40B4-BE49-F238E27FC236}">
                <a16:creationId xmlns:a16="http://schemas.microsoft.com/office/drawing/2014/main" id="{B6DC0C60-8392-69B5-C7A3-A9BC64198C5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3224" y="3172107"/>
            <a:ext cx="1349445" cy="1349445"/>
          </a:xfrm>
          <a:prstGeom prst="rect">
            <a:avLst/>
          </a:prstGeom>
        </p:spPr>
      </p:pic>
      <p:pic>
        <p:nvPicPr>
          <p:cNvPr id="66" name="Billede 65" descr="Et billede, der indeholder Grafik, clipart, kunst, illustration/afbildning&#10;&#10;AI-genereret indhold kan være ukorrekt.">
            <a:extLst>
              <a:ext uri="{FF2B5EF4-FFF2-40B4-BE49-F238E27FC236}">
                <a16:creationId xmlns:a16="http://schemas.microsoft.com/office/drawing/2014/main" id="{71692917-ECD4-893D-A20A-CCE98842D19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3224" y="4860505"/>
            <a:ext cx="1349445" cy="1349445"/>
          </a:xfrm>
          <a:prstGeom prst="rect">
            <a:avLst/>
          </a:prstGeom>
        </p:spPr>
      </p:pic>
      <p:pic>
        <p:nvPicPr>
          <p:cNvPr id="68" name="Billede 67" descr="Et billede, der indeholder Grafik, Font/skrifttype, cirkel, grafisk design&#10;&#10;AI-genereret indhold kan være ukorrekt.">
            <a:extLst>
              <a:ext uri="{FF2B5EF4-FFF2-40B4-BE49-F238E27FC236}">
                <a16:creationId xmlns:a16="http://schemas.microsoft.com/office/drawing/2014/main" id="{E3A12050-B958-6978-4A15-FD9E02EECF3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322" y="4793273"/>
            <a:ext cx="1428824" cy="1428824"/>
          </a:xfrm>
          <a:prstGeom prst="rect">
            <a:avLst/>
          </a:prstGeom>
        </p:spPr>
      </p:pic>
      <p:sp>
        <p:nvSpPr>
          <p:cNvPr id="69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205975E9-52B3-45E6-87F4-7DAD0AA740E4}"/>
              </a:ext>
            </a:extLst>
          </p:cNvPr>
          <p:cNvSpPr/>
          <p:nvPr/>
        </p:nvSpPr>
        <p:spPr>
          <a:xfrm>
            <a:off x="500283" y="2880856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edarbejder-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ammensætning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0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BEB62706-6C79-BC98-E2F9-1E2E942B7C62}"/>
              </a:ext>
            </a:extLst>
          </p:cNvPr>
          <p:cNvSpPr/>
          <p:nvPr/>
        </p:nvSpPr>
        <p:spPr>
          <a:xfrm>
            <a:off x="2579813" y="2880856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edarbejder-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trivsel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1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A128FF09-3E13-6AC5-03F7-31D4A2836562}"/>
              </a:ext>
            </a:extLst>
          </p:cNvPr>
          <p:cNvSpPr/>
          <p:nvPr/>
        </p:nvSpPr>
        <p:spPr>
          <a:xfrm>
            <a:off x="4578912" y="2880856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lmenboligers betalbarhed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2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F523D530-E726-55E8-A8E6-933261C6017D}"/>
              </a:ext>
            </a:extLst>
          </p:cNvPr>
          <p:cNvSpPr/>
          <p:nvPr/>
        </p:nvSpPr>
        <p:spPr>
          <a:xfrm>
            <a:off x="500283" y="453756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ntal almene boliger i området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3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4599CAC8-244F-AB35-8FAE-0A382C66E7F7}"/>
              </a:ext>
            </a:extLst>
          </p:cNvPr>
          <p:cNvSpPr/>
          <p:nvPr/>
        </p:nvSpPr>
        <p:spPr>
          <a:xfrm>
            <a:off x="2579813" y="453756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unktioner i lokalområdet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4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F01464AF-E5AF-5757-F3F0-1BD846E5939D}"/>
              </a:ext>
            </a:extLst>
          </p:cNvPr>
          <p:cNvSpPr/>
          <p:nvPr/>
        </p:nvSpPr>
        <p:spPr>
          <a:xfrm>
            <a:off x="4578912" y="453756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ivskvalitet og sundhed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5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56D6848C-3AFF-154B-7970-1D8875B05B17}"/>
              </a:ext>
            </a:extLst>
          </p:cNvPr>
          <p:cNvSpPr/>
          <p:nvPr/>
        </p:nvSpPr>
        <p:spPr>
          <a:xfrm>
            <a:off x="500283" y="613922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ivschancer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6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4C73A4F5-6DB8-CA2E-AD41-155BF33D403C}"/>
              </a:ext>
            </a:extLst>
          </p:cNvPr>
          <p:cNvSpPr/>
          <p:nvPr/>
        </p:nvSpPr>
        <p:spPr>
          <a:xfrm>
            <a:off x="2579813" y="613922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okalt fællesskab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8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1E4C07BE-D2AD-65DE-5537-EB0884B2F244}"/>
              </a:ext>
            </a:extLst>
          </p:cNvPr>
          <p:cNvSpPr/>
          <p:nvPr/>
        </p:nvSpPr>
        <p:spPr>
          <a:xfrm>
            <a:off x="6714350" y="2880856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edarbejder-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ammensætning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9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E06884CA-1B82-AC04-B0EC-6A51622AF04B}"/>
              </a:ext>
            </a:extLst>
          </p:cNvPr>
          <p:cNvSpPr/>
          <p:nvPr/>
        </p:nvSpPr>
        <p:spPr>
          <a:xfrm>
            <a:off x="8793880" y="2880856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Medarbejder-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trivsel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80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B11F3001-258C-B645-1A5F-6C69F7F894DC}"/>
              </a:ext>
            </a:extLst>
          </p:cNvPr>
          <p:cNvSpPr/>
          <p:nvPr/>
        </p:nvSpPr>
        <p:spPr>
          <a:xfrm>
            <a:off x="10792979" y="2880856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lmenboligers betalbarhed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81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FFBF9BFA-CABF-BC33-38B7-0F7BC7AFA539}"/>
              </a:ext>
            </a:extLst>
          </p:cNvPr>
          <p:cNvSpPr/>
          <p:nvPr/>
        </p:nvSpPr>
        <p:spPr>
          <a:xfrm>
            <a:off x="6714350" y="453756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Antal almene boliger i området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82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66420BEE-5688-BD4E-3E8F-52DB7C3FF093}"/>
              </a:ext>
            </a:extLst>
          </p:cNvPr>
          <p:cNvSpPr/>
          <p:nvPr/>
        </p:nvSpPr>
        <p:spPr>
          <a:xfrm>
            <a:off x="8793880" y="453756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unktioner i lokalområdet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83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EA4CF2BA-B4E4-959D-05B2-185052543469}"/>
              </a:ext>
            </a:extLst>
          </p:cNvPr>
          <p:cNvSpPr/>
          <p:nvPr/>
        </p:nvSpPr>
        <p:spPr>
          <a:xfrm>
            <a:off x="10792979" y="453756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ivskvalitet og sundhed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84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5921FB33-EF70-966D-0933-A6D6EAF7A425}"/>
              </a:ext>
            </a:extLst>
          </p:cNvPr>
          <p:cNvSpPr/>
          <p:nvPr/>
        </p:nvSpPr>
        <p:spPr>
          <a:xfrm>
            <a:off x="6714350" y="613922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ivschancer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85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57BBEEEE-5B52-69A2-A20B-065AF2EEA629}"/>
              </a:ext>
            </a:extLst>
          </p:cNvPr>
          <p:cNvSpPr/>
          <p:nvPr/>
        </p:nvSpPr>
        <p:spPr>
          <a:xfrm>
            <a:off x="8793880" y="6139229"/>
            <a:ext cx="1128135" cy="255704"/>
          </a:xfrm>
          <a:prstGeom prst="flowChartAlternateProcess">
            <a:avLst/>
          </a:prstGeom>
          <a:solidFill>
            <a:srgbClr val="FCD9DC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EF3F5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Lokalt fællesskab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EF3F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2" name="Title 10" descr="decorative: Title 10">
            <a:extLst>
              <a:ext uri="{FF2B5EF4-FFF2-40B4-BE49-F238E27FC236}">
                <a16:creationId xmlns:a16="http://schemas.microsoft.com/office/drawing/2014/main" id="{7A5398C7-5370-6A60-A642-2F5289779A4C}"/>
              </a:ext>
            </a:extLst>
          </p:cNvPr>
          <p:cNvSpPr txBox="1">
            <a:spLocks/>
          </p:cNvSpPr>
          <p:nvPr/>
        </p:nvSpPr>
        <p:spPr>
          <a:xfrm>
            <a:off x="9582150" y="377206"/>
            <a:ext cx="2249850" cy="579798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a-DK" sz="1400" dirty="0">
                <a:solidFill>
                  <a:srgbClr val="FF3B3B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kopier eller højreklik og gem som billede)</a:t>
            </a:r>
          </a:p>
        </p:txBody>
      </p:sp>
    </p:spTree>
    <p:extLst>
      <p:ext uri="{BB962C8B-B14F-4D97-AF65-F5344CB8AC3E}">
        <p14:creationId xmlns:p14="http://schemas.microsoft.com/office/powerpoint/2010/main" val="9341720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7145BD-5255-EDD7-5C2A-FA977BD790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10" descr="decorative: Title 10">
            <a:extLst>
              <a:ext uri="{FF2B5EF4-FFF2-40B4-BE49-F238E27FC236}">
                <a16:creationId xmlns:a16="http://schemas.microsoft.com/office/drawing/2014/main" id="{141449F1-CFC5-D946-33EE-52C97889F184}"/>
              </a:ext>
            </a:extLst>
          </p:cNvPr>
          <p:cNvSpPr txBox="1">
            <a:spLocks/>
          </p:cNvSpPr>
          <p:nvPr/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ålepunkter for </a:t>
            </a:r>
            <a:r>
              <a:rPr lang="da-DK" dirty="0" err="1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vernance</a:t>
            </a:r>
            <a:endParaRPr lang="da-DK" sz="1400" dirty="0">
              <a:solidFill>
                <a:srgbClr val="252F5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1" name="Text Placeholder 24" descr="decorative: Text Placeholder 24">
            <a:extLst>
              <a:ext uri="{FF2B5EF4-FFF2-40B4-BE49-F238E27FC236}">
                <a16:creationId xmlns:a16="http://schemas.microsoft.com/office/drawing/2014/main" id="{40D4C48F-B188-97CA-9578-EE6F23D40621}"/>
              </a:ext>
            </a:extLst>
          </p:cNvPr>
          <p:cNvSpPr txBox="1">
            <a:spLocks/>
          </p:cNvSpPr>
          <p:nvPr/>
        </p:nvSpPr>
        <p:spPr>
          <a:xfrm>
            <a:off x="348839" y="1078674"/>
            <a:ext cx="2746786" cy="442117"/>
          </a:xfrm>
          <a:prstGeom prst="rect">
            <a:avLst/>
          </a:prstGeom>
        </p:spPr>
        <p:txBody>
          <a:bodyPr>
            <a:no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2600" dirty="0"/>
              <a:t>Uden baggrund</a:t>
            </a:r>
          </a:p>
        </p:txBody>
      </p:sp>
      <p:sp>
        <p:nvSpPr>
          <p:cNvPr id="52" name="Text Placeholder 24" descr="decorative: Text Placeholder 24">
            <a:extLst>
              <a:ext uri="{FF2B5EF4-FFF2-40B4-BE49-F238E27FC236}">
                <a16:creationId xmlns:a16="http://schemas.microsoft.com/office/drawing/2014/main" id="{F1A61973-46AB-21AD-4865-BB73E9A24D09}"/>
              </a:ext>
            </a:extLst>
          </p:cNvPr>
          <p:cNvSpPr txBox="1">
            <a:spLocks/>
          </p:cNvSpPr>
          <p:nvPr/>
        </p:nvSpPr>
        <p:spPr>
          <a:xfrm>
            <a:off x="6624150" y="1078674"/>
            <a:ext cx="2653200" cy="442117"/>
          </a:xfrm>
          <a:prstGeom prst="rect">
            <a:avLst/>
          </a:prstGeom>
        </p:spPr>
        <p:txBody>
          <a:bodyPr>
            <a:no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2600" dirty="0"/>
              <a:t>Med baggrund</a:t>
            </a:r>
          </a:p>
        </p:txBody>
      </p:sp>
      <p:sp>
        <p:nvSpPr>
          <p:cNvPr id="69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C44D4A5B-3C96-06C1-E53A-528FC18D2CB9}"/>
              </a:ext>
            </a:extLst>
          </p:cNvPr>
          <p:cNvSpPr/>
          <p:nvPr/>
        </p:nvSpPr>
        <p:spPr>
          <a:xfrm>
            <a:off x="500283" y="3338056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Beboerdemokrati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0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E5DAF36C-7B54-2CE1-4E8E-64817BEB6061}"/>
              </a:ext>
            </a:extLst>
          </p:cNvPr>
          <p:cNvSpPr/>
          <p:nvPr/>
        </p:nvSpPr>
        <p:spPr>
          <a:xfrm>
            <a:off x="2536386" y="3338056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rivillighed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1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5078A4EF-28DF-B5E7-9273-12C2317FF904}"/>
              </a:ext>
            </a:extLst>
          </p:cNvPr>
          <p:cNvSpPr/>
          <p:nvPr/>
        </p:nvSpPr>
        <p:spPr>
          <a:xfrm>
            <a:off x="4578912" y="3338056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Økonomistyring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2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D5DD402B-08E2-2604-DE87-92E08C87F171}"/>
              </a:ext>
            </a:extLst>
          </p:cNvPr>
          <p:cNvSpPr/>
          <p:nvPr/>
        </p:nvSpPr>
        <p:spPr>
          <a:xfrm>
            <a:off x="500283" y="5129964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Overholdelse af regulering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3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51C09591-108B-24EA-F1CD-1DF1885604C6}"/>
              </a:ext>
            </a:extLst>
          </p:cNvPr>
          <p:cNvSpPr/>
          <p:nvPr/>
        </p:nvSpPr>
        <p:spPr>
          <a:xfrm>
            <a:off x="2536386" y="5129964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olitikker og praksis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74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9E0C7939-8EA1-BF98-222E-1D52206F1ED8}"/>
              </a:ext>
            </a:extLst>
          </p:cNvPr>
          <p:cNvSpPr/>
          <p:nvPr/>
        </p:nvSpPr>
        <p:spPr>
          <a:xfrm>
            <a:off x="4578912" y="5129964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ociale klausuler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pic>
        <p:nvPicPr>
          <p:cNvPr id="23" name="Billede 22" descr="Et billede, der indeholder Grafik, kunst, tegning, Font/skrifttype&#10;&#10;AI-genereret indhold kan være ukorrekt.">
            <a:extLst>
              <a:ext uri="{FF2B5EF4-FFF2-40B4-BE49-F238E27FC236}">
                <a16:creationId xmlns:a16="http://schemas.microsoft.com/office/drawing/2014/main" id="{992DD000-AED0-083F-47D4-FF103F5FAD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34" y="2026119"/>
            <a:ext cx="1219898" cy="1192909"/>
          </a:xfrm>
          <a:prstGeom prst="rect">
            <a:avLst/>
          </a:prstGeom>
        </p:spPr>
      </p:pic>
      <p:pic>
        <p:nvPicPr>
          <p:cNvPr id="25" name="Billede 24" descr="Et billede, der indeholder kunst, symbol, tegning&#10;&#10;AI-genereret indhold kan være ukorrekt.">
            <a:extLst>
              <a:ext uri="{FF2B5EF4-FFF2-40B4-BE49-F238E27FC236}">
                <a16:creationId xmlns:a16="http://schemas.microsoft.com/office/drawing/2014/main" id="{B1478B1A-9254-3BE8-FD75-29AB02FF81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333" y="1943077"/>
            <a:ext cx="1354842" cy="1349445"/>
          </a:xfrm>
          <a:prstGeom prst="rect">
            <a:avLst/>
          </a:prstGeom>
        </p:spPr>
      </p:pic>
      <p:pic>
        <p:nvPicPr>
          <p:cNvPr id="27" name="Billede 26" descr="Et billede, der indeholder Grafik, tegning, symbol, skitse&#10;&#10;AI-genereret indhold kan være ukorrekt.">
            <a:extLst>
              <a:ext uri="{FF2B5EF4-FFF2-40B4-BE49-F238E27FC236}">
                <a16:creationId xmlns:a16="http://schemas.microsoft.com/office/drawing/2014/main" id="{7729BC87-0F99-3A9B-61D2-1AF48CD090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3001" y="2088190"/>
            <a:ext cx="1209102" cy="1165920"/>
          </a:xfrm>
          <a:prstGeom prst="rect">
            <a:avLst/>
          </a:prstGeom>
        </p:spPr>
      </p:pic>
      <p:pic>
        <p:nvPicPr>
          <p:cNvPr id="29" name="Billede 28" descr="Et billede, der indeholder symbol, cirkel, Grafik, logo&#10;&#10;AI-genereret indhold kan være ukorrekt.">
            <a:extLst>
              <a:ext uri="{FF2B5EF4-FFF2-40B4-BE49-F238E27FC236}">
                <a16:creationId xmlns:a16="http://schemas.microsoft.com/office/drawing/2014/main" id="{CF846241-70E4-FB9D-912F-99CBCC0C16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34" y="3754737"/>
            <a:ext cx="1354842" cy="1349445"/>
          </a:xfrm>
          <a:prstGeom prst="rect">
            <a:avLst/>
          </a:prstGeom>
        </p:spPr>
      </p:pic>
      <p:pic>
        <p:nvPicPr>
          <p:cNvPr id="31" name="Billede 30" descr="Et billede, der indeholder kunst, Grafik, symbol, skitse&#10;&#10;AI-genereret indhold kan være ukorrekt.">
            <a:extLst>
              <a:ext uri="{FF2B5EF4-FFF2-40B4-BE49-F238E27FC236}">
                <a16:creationId xmlns:a16="http://schemas.microsoft.com/office/drawing/2014/main" id="{79DB3873-84DA-5C69-5E93-798326A072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0987" y="3875328"/>
            <a:ext cx="1133534" cy="1209102"/>
          </a:xfrm>
          <a:prstGeom prst="rect">
            <a:avLst/>
          </a:prstGeom>
        </p:spPr>
      </p:pic>
      <p:pic>
        <p:nvPicPr>
          <p:cNvPr id="33" name="Billede 32" descr="Et billede, der indeholder Grafik, Font/skrifttype, symbol, logo&#10;&#10;AI-genereret indhold kan være ukorrekt.">
            <a:extLst>
              <a:ext uri="{FF2B5EF4-FFF2-40B4-BE49-F238E27FC236}">
                <a16:creationId xmlns:a16="http://schemas.microsoft.com/office/drawing/2014/main" id="{7F86E833-E204-80E5-C93C-FC044E7B1DE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5086" y="3805157"/>
            <a:ext cx="1349445" cy="1349445"/>
          </a:xfrm>
          <a:prstGeom prst="rect">
            <a:avLst/>
          </a:prstGeom>
        </p:spPr>
      </p:pic>
      <p:pic>
        <p:nvPicPr>
          <p:cNvPr id="21" name="Billede 20" descr="Et billede, der indeholder Grafik, clipart, tegning, kunst&#10;&#10;AI-genereret indhold kan være ukorrekt.">
            <a:extLst>
              <a:ext uri="{FF2B5EF4-FFF2-40B4-BE49-F238E27FC236}">
                <a16:creationId xmlns:a16="http://schemas.microsoft.com/office/drawing/2014/main" id="{21511576-D56F-EA9C-0CFB-46E63DE6AE5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462" y="2033305"/>
            <a:ext cx="1219898" cy="1192909"/>
          </a:xfrm>
          <a:prstGeom prst="rect">
            <a:avLst/>
          </a:prstGeom>
        </p:spPr>
      </p:pic>
      <p:pic>
        <p:nvPicPr>
          <p:cNvPr id="24" name="Billede 23" descr="Et billede, der indeholder tegning, skitse, kunst&#10;&#10;AI-genereret indhold kan være ukorrekt.">
            <a:extLst>
              <a:ext uri="{FF2B5EF4-FFF2-40B4-BE49-F238E27FC236}">
                <a16:creationId xmlns:a16="http://schemas.microsoft.com/office/drawing/2014/main" id="{442D88AF-DA58-0BCB-63FC-406EEF8DB5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5035" y="1943076"/>
            <a:ext cx="1349445" cy="1349445"/>
          </a:xfrm>
          <a:prstGeom prst="rect">
            <a:avLst/>
          </a:prstGeom>
        </p:spPr>
      </p:pic>
      <p:pic>
        <p:nvPicPr>
          <p:cNvPr id="28" name="Billede 27" descr="Et billede, der indeholder tegning, Grafik, clipart, illustration/afbildning&#10;&#10;AI-genereret indhold kan være ukorrekt.">
            <a:extLst>
              <a:ext uri="{FF2B5EF4-FFF2-40B4-BE49-F238E27FC236}">
                <a16:creationId xmlns:a16="http://schemas.microsoft.com/office/drawing/2014/main" id="{327B4295-9488-36AE-B82C-D01AA2592A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0292" y="2050346"/>
            <a:ext cx="1209102" cy="1165920"/>
          </a:xfrm>
          <a:prstGeom prst="rect">
            <a:avLst/>
          </a:prstGeom>
        </p:spPr>
      </p:pic>
      <p:pic>
        <p:nvPicPr>
          <p:cNvPr id="32" name="Billede 31" descr="Et billede, der indeholder symbol, logo, cirkel, Grafik&#10;&#10;AI-genereret indhold kan være ukorrekt.">
            <a:extLst>
              <a:ext uri="{FF2B5EF4-FFF2-40B4-BE49-F238E27FC236}">
                <a16:creationId xmlns:a16="http://schemas.microsoft.com/office/drawing/2014/main" id="{83EA7896-F4B9-AB16-EC3F-EE992F8F1C1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88" y="3780519"/>
            <a:ext cx="1349445" cy="1349445"/>
          </a:xfrm>
          <a:prstGeom prst="rect">
            <a:avLst/>
          </a:prstGeom>
        </p:spPr>
      </p:pic>
      <p:pic>
        <p:nvPicPr>
          <p:cNvPr id="36" name="Billede 35" descr="Et billede, der indeholder Grafik, symbol, kunst, tegning&#10;&#10;AI-genereret indhold kan være ukorrekt.">
            <a:extLst>
              <a:ext uri="{FF2B5EF4-FFF2-40B4-BE49-F238E27FC236}">
                <a16:creationId xmlns:a16="http://schemas.microsoft.com/office/drawing/2014/main" id="{A435D568-3B08-43C8-3308-534C899015B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2" y="3850690"/>
            <a:ext cx="1133534" cy="1209102"/>
          </a:xfrm>
          <a:prstGeom prst="rect">
            <a:avLst/>
          </a:prstGeom>
        </p:spPr>
      </p:pic>
      <p:pic>
        <p:nvPicPr>
          <p:cNvPr id="40" name="Billede 39" descr="Et billede, der indeholder Grafik, logo, symbol, clipart&#10;&#10;AI-genereret indhold kan være ukorrekt.">
            <a:extLst>
              <a:ext uri="{FF2B5EF4-FFF2-40B4-BE49-F238E27FC236}">
                <a16:creationId xmlns:a16="http://schemas.microsoft.com/office/drawing/2014/main" id="{C5ADC11D-ADB9-010C-242B-B4580FA3048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0120" y="3780519"/>
            <a:ext cx="1349445" cy="1349445"/>
          </a:xfrm>
          <a:prstGeom prst="rect">
            <a:avLst/>
          </a:prstGeom>
        </p:spPr>
      </p:pic>
      <p:sp>
        <p:nvSpPr>
          <p:cNvPr id="42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659CF2CD-E907-183E-CCCE-FCD3CEF99F8B}"/>
              </a:ext>
            </a:extLst>
          </p:cNvPr>
          <p:cNvSpPr/>
          <p:nvPr/>
        </p:nvSpPr>
        <p:spPr>
          <a:xfrm>
            <a:off x="6677462" y="3338056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Beboerdemokrati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44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DF96AA71-0CCA-545C-6D99-A599BF22350F}"/>
              </a:ext>
            </a:extLst>
          </p:cNvPr>
          <p:cNvSpPr/>
          <p:nvPr/>
        </p:nvSpPr>
        <p:spPr>
          <a:xfrm>
            <a:off x="8713565" y="3338056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Frivillighed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46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0E8DCD1B-125C-01B4-F4E2-2ADE89F5E5D6}"/>
              </a:ext>
            </a:extLst>
          </p:cNvPr>
          <p:cNvSpPr/>
          <p:nvPr/>
        </p:nvSpPr>
        <p:spPr>
          <a:xfrm>
            <a:off x="10756091" y="3338056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Økonomistyring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48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0D9E54CF-A291-FEFD-7B05-D2762DBBE28E}"/>
              </a:ext>
            </a:extLst>
          </p:cNvPr>
          <p:cNvSpPr/>
          <p:nvPr/>
        </p:nvSpPr>
        <p:spPr>
          <a:xfrm>
            <a:off x="6677462" y="5129964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Overholdelse af regulering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53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0DB53DDE-CE7E-7E73-49CA-7DCBD56D1C50}"/>
              </a:ext>
            </a:extLst>
          </p:cNvPr>
          <p:cNvSpPr/>
          <p:nvPr/>
        </p:nvSpPr>
        <p:spPr>
          <a:xfrm>
            <a:off x="8713565" y="5129964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Politikker og praksis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55" name="Flowchart: Alternate Process 30" descr="decorative: Flowchart: Alternate Process 30">
            <a:extLst>
              <a:ext uri="{FF2B5EF4-FFF2-40B4-BE49-F238E27FC236}">
                <a16:creationId xmlns:a16="http://schemas.microsoft.com/office/drawing/2014/main" id="{20D1BCE9-F4E4-4027-EF56-5AE3F96572DF}"/>
              </a:ext>
            </a:extLst>
          </p:cNvPr>
          <p:cNvSpPr/>
          <p:nvPr/>
        </p:nvSpPr>
        <p:spPr>
          <a:xfrm>
            <a:off x="10756091" y="5129964"/>
            <a:ext cx="1128135" cy="255704"/>
          </a:xfrm>
          <a:prstGeom prst="flowChartAlternateProcess">
            <a:avLst/>
          </a:prstGeom>
          <a:solidFill>
            <a:srgbClr val="97A2BB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700" b="1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Sociale klausuler</a:t>
            </a:r>
            <a:endParaRPr kumimoji="0" lang="da-DK" sz="700" b="1" i="0" u="none" strike="noStrike" kern="1200" cap="none" spc="0" normalizeH="0" baseline="0" noProof="0" dirty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2" name="Title 10" descr="decorative: Title 10">
            <a:extLst>
              <a:ext uri="{FF2B5EF4-FFF2-40B4-BE49-F238E27FC236}">
                <a16:creationId xmlns:a16="http://schemas.microsoft.com/office/drawing/2014/main" id="{F4201D27-2AA8-FE91-6D7F-5750A81181F5}"/>
              </a:ext>
            </a:extLst>
          </p:cNvPr>
          <p:cNvSpPr txBox="1">
            <a:spLocks/>
          </p:cNvSpPr>
          <p:nvPr/>
        </p:nvSpPr>
        <p:spPr>
          <a:xfrm>
            <a:off x="9582150" y="377206"/>
            <a:ext cx="2249850" cy="579798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a-DK" sz="1400" dirty="0">
                <a:solidFill>
                  <a:srgbClr val="252F5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kopier eller højreklik og gem som billede)</a:t>
            </a:r>
          </a:p>
        </p:txBody>
      </p:sp>
    </p:spTree>
    <p:extLst>
      <p:ext uri="{BB962C8B-B14F-4D97-AF65-F5344CB8AC3E}">
        <p14:creationId xmlns:p14="http://schemas.microsoft.com/office/powerpoint/2010/main" val="2076798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5-01-11 18:36:43"/>
  <p:tag name="KM-QUALITY-SLIDE" val="2025-01-11 18:36:18"/>
  <p:tag name="SH_REF" val="ZS8xVWxDZDZDclJ3Z2p0aHYrNnpkSUtoT21IeFVwLzVneWJzelVuZmFsd3d5MmVqa0dYdVFaclZ6ZjFVMVNUVg%3D%3D"/>
  <p:tag name="SLIDEHUBID" val="53403000991957188153297254bcf926f6e460ffb2f756227f66125d6124e41794137930"/>
  <p:tag name="SLIDEHUBID_NEW" val="updated"/>
  <p:tag name="SLIDEHUBUPDATETIME" val="2025-09-18 17:29:33.00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2.xml><?xml version="1.0" encoding="utf-8"?>
<a:theme xmlns:a="http://schemas.openxmlformats.org/drawingml/2006/main" name="4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3.xml><?xml version="1.0" encoding="utf-8"?>
<a:theme xmlns:a="http://schemas.openxmlformats.org/drawingml/2006/main" name="1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4.xml><?xml version="1.0" encoding="utf-8"?>
<a:theme xmlns:a="http://schemas.openxmlformats.org/drawingml/2006/main" name="2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  <wetp:taskpane dockstate="right" visibility="0" width="350" row="1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53BFA123-23B6-43E7-9BEE-03030B30D0DA}">
  <we:reference id="wa200005701" version="1.0.0.1" store="da-DK" storeType="OMEX"/>
  <we:alternateReferences>
    <we:reference id="wa200005701" version="1.0.0.1" store="wa200005701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3C7E486E-FF39-4A47-B835-648A66FDD010}">
  <we:reference id="wa200001625" version="1.0.0.8" store="da-DK" storeType="OMEX"/>
  <we:alternateReferences>
    <we:reference id="wa200001625" version="1.0.0.8" store="WA200001625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e21f3c-b20b-41e4-9fa9-33c4bbbe68ac" xsi:nil="true"/>
    <lcf76f155ced4ddcb4097134ff3c332f xmlns="07b48e10-c04f-417b-9474-e48ce6fea886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B7D845375A7054B9D1190F5089F308E" ma:contentTypeVersion="16" ma:contentTypeDescription="Opret et nyt dokument." ma:contentTypeScope="" ma:versionID="e9c37fc4888735ef1c7d77d758cccadb">
  <xsd:schema xmlns:xsd="http://www.w3.org/2001/XMLSchema" xmlns:xs="http://www.w3.org/2001/XMLSchema" xmlns:p="http://schemas.microsoft.com/office/2006/metadata/properties" xmlns:ns2="07b48e10-c04f-417b-9474-e48ce6fea886" xmlns:ns3="58e21f3c-b20b-41e4-9fa9-33c4bbbe68ac" targetNamespace="http://schemas.microsoft.com/office/2006/metadata/properties" ma:root="true" ma:fieldsID="2d032395697e4959afa1a41f1f7614ff" ns2:_="" ns3:_="">
    <xsd:import namespace="07b48e10-c04f-417b-9474-e48ce6fea886"/>
    <xsd:import namespace="58e21f3c-b20b-41e4-9fa9-33c4bbbe68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b48e10-c04f-417b-9474-e48ce6fea8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illedmærker" ma:readOnly="false" ma:fieldId="{5cf76f15-5ced-4ddc-b409-7134ff3c332f}" ma:taxonomyMulti="true" ma:sspId="567415f2-b293-4451-ac09-c97e906511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21f3c-b20b-41e4-9fa9-33c4bbbe68a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8eec7cd-60fc-43cb-b884-fabd96c89621}" ma:internalName="TaxCatchAll" ma:showField="CatchAllData" ma:web="58e21f3c-b20b-41e4-9fa9-33c4bbbe68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E5EDA6-ED9A-4FBB-8BD1-EE0D761105F9}">
  <ds:schemaRefs>
    <ds:schemaRef ds:uri="07b48e10-c04f-417b-9474-e48ce6fea886"/>
    <ds:schemaRef ds:uri="58e21f3c-b20b-41e4-9fa9-33c4bbbe68a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CD21122-1841-41E8-A042-A6D6B61DDD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8CD51AF-27EA-4883-87B4-3E34F953B7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b48e10-c04f-417b-9474-e48ce6fea886"/>
    <ds:schemaRef ds:uri="58e21f3c-b20b-41e4-9fa9-33c4bbbe68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e87e434-5779-42f9-b010-137c80c376f3}" enabled="1" method="Privileged" siteId="{9395c127-4642-416e-8d2d-69e01e31c0d5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262</Words>
  <Application>Microsoft Office PowerPoint</Application>
  <PresentationFormat>Widescreen</PresentationFormat>
  <Paragraphs>100</Paragraphs>
  <Slides>9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4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21" baseType="lpstr">
      <vt:lpstr>Aptos</vt:lpstr>
      <vt:lpstr>Arial</vt:lpstr>
      <vt:lpstr>Calibri Light</vt:lpstr>
      <vt:lpstr>DM Sans 14pt</vt:lpstr>
      <vt:lpstr>DM Sans 14pt ExtraBold</vt:lpstr>
      <vt:lpstr>DM Sans 14pt Medium</vt:lpstr>
      <vt:lpstr>Verdana</vt:lpstr>
      <vt:lpstr>AlmenKompas</vt:lpstr>
      <vt:lpstr>4_AlmenKompas</vt:lpstr>
      <vt:lpstr>1_AlmenKompas</vt:lpstr>
      <vt:lpstr>2_AlmenKompas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AlmenKompas-målepunkterne – samlet overblik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Kasper Brøndum Andersen</cp:lastModifiedBy>
  <cp:revision>2</cp:revision>
  <dcterms:created xsi:type="dcterms:W3CDTF">2025-11-04T07:53:19Z</dcterms:created>
  <dcterms:modified xsi:type="dcterms:W3CDTF">2026-01-15T13:3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7D845375A7054B9D1190F5089F308E</vt:lpwstr>
  </property>
  <property fmtid="{D5CDD505-2E9C-101B-9397-08002B2CF9AE}" pid="3" name="MediaServiceImageTags">
    <vt:lpwstr/>
  </property>
</Properties>
</file>